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3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7.xml" ContentType="application/vnd.openxmlformats-officedocument.theme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701" r:id="rId3"/>
    <p:sldMasterId id="2147483718" r:id="rId4"/>
    <p:sldMasterId id="2147483750" r:id="rId5"/>
    <p:sldMasterId id="2147483791" r:id="rId6"/>
    <p:sldMasterId id="2147483833" r:id="rId7"/>
    <p:sldMasterId id="2147483848" r:id="rId8"/>
    <p:sldMasterId id="2147483889" r:id="rId9"/>
  </p:sldMasterIdLst>
  <p:notesMasterIdLst>
    <p:notesMasterId r:id="rId22"/>
  </p:notesMasterIdLst>
  <p:sldIdLst>
    <p:sldId id="260" r:id="rId10"/>
    <p:sldId id="267" r:id="rId11"/>
    <p:sldId id="262" r:id="rId12"/>
    <p:sldId id="263" r:id="rId13"/>
    <p:sldId id="264" r:id="rId14"/>
    <p:sldId id="265" r:id="rId15"/>
    <p:sldId id="266" r:id="rId16"/>
    <p:sldId id="274" r:id="rId17"/>
    <p:sldId id="272" r:id="rId18"/>
    <p:sldId id="268" r:id="rId19"/>
    <p:sldId id="270" r:id="rId20"/>
    <p:sldId id="257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31" autoAdjust="0"/>
    <p:restoredTop sz="79647"/>
  </p:normalViewPr>
  <p:slideViewPr>
    <p:cSldViewPr snapToGrid="0">
      <p:cViewPr varScale="1">
        <p:scale>
          <a:sx n="84" d="100"/>
          <a:sy n="84" d="100"/>
        </p:scale>
        <p:origin x="1128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9.xml"/><Relationship Id="rId20" Type="http://schemas.openxmlformats.org/officeDocument/2006/relationships/slide" Target="slides/slide11.xml"/><Relationship Id="rId21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3" Type="http://schemas.openxmlformats.org/officeDocument/2006/relationships/presProps" Target="presProps.xml"/><Relationship Id="rId24" Type="http://schemas.openxmlformats.org/officeDocument/2006/relationships/viewProps" Target="viewProps.xml"/><Relationship Id="rId25" Type="http://schemas.openxmlformats.org/officeDocument/2006/relationships/theme" Target="theme/theme1.xml"/><Relationship Id="rId26" Type="http://schemas.openxmlformats.org/officeDocument/2006/relationships/tableStyles" Target="tableStyles.xml"/><Relationship Id="rId10" Type="http://schemas.openxmlformats.org/officeDocument/2006/relationships/slide" Target="slides/slide1.xml"/><Relationship Id="rId11" Type="http://schemas.openxmlformats.org/officeDocument/2006/relationships/slide" Target="slides/slide2.xml"/><Relationship Id="rId12" Type="http://schemas.openxmlformats.org/officeDocument/2006/relationships/slide" Target="slides/slide3.xml"/><Relationship Id="rId13" Type="http://schemas.openxmlformats.org/officeDocument/2006/relationships/slide" Target="slides/slide4.xml"/><Relationship Id="rId14" Type="http://schemas.openxmlformats.org/officeDocument/2006/relationships/slide" Target="slides/slide5.xml"/><Relationship Id="rId15" Type="http://schemas.openxmlformats.org/officeDocument/2006/relationships/slide" Target="slides/slide6.xml"/><Relationship Id="rId16" Type="http://schemas.openxmlformats.org/officeDocument/2006/relationships/slide" Target="slides/slide7.xml"/><Relationship Id="rId17" Type="http://schemas.openxmlformats.org/officeDocument/2006/relationships/slide" Target="slides/slide8.xml"/><Relationship Id="rId18" Type="http://schemas.openxmlformats.org/officeDocument/2006/relationships/slide" Target="slides/slide9.xml"/><Relationship Id="rId19" Type="http://schemas.openxmlformats.org/officeDocument/2006/relationships/slide" Target="slides/slide10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3765B1-0340-DA41-9D34-BEF144E1824B}" type="datetimeFigureOut">
              <a:rPr lang="en-US" smtClean="0"/>
              <a:t>9/11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BC2AB1-A8D4-A746-AC25-F5426B0D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888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oday we’re going to talk about</a:t>
            </a:r>
            <a:r>
              <a:rPr lang="en-US" baseline="0" dirty="0" smtClean="0"/>
              <a:t> SQL Server 2017 and support for Linux</a:t>
            </a:r>
          </a:p>
          <a:p>
            <a:r>
              <a:rPr lang="en-US" baseline="0" dirty="0" smtClean="0"/>
              <a:t>Show of hands </a:t>
            </a:r>
            <a:r>
              <a:rPr lang="mr-IN" baseline="0" dirty="0" smtClean="0"/>
              <a:t>–</a:t>
            </a:r>
            <a:r>
              <a:rPr lang="en-US" baseline="0" dirty="0" smtClean="0"/>
              <a:t> how many people use Linux?</a:t>
            </a:r>
          </a:p>
          <a:p>
            <a:r>
              <a:rPr lang="en-US" baseline="0" dirty="0" smtClean="0"/>
              <a:t>Use other databases on Linux? MySQL, </a:t>
            </a:r>
            <a:r>
              <a:rPr lang="en-US" baseline="0" dirty="0" err="1" smtClean="0"/>
              <a:t>PgSql</a:t>
            </a:r>
            <a:r>
              <a:rPr lang="en-US" baseline="0" dirty="0" smtClean="0"/>
              <a:t>?</a:t>
            </a:r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14400">
              <a:defRPr/>
            </a:pPr>
            <a:r>
              <a:rPr lang="en-US" sz="1800" kern="0" dirty="0">
                <a:solidFill>
                  <a:sysClr val="windowText" lastClr="000000"/>
                </a:solidFill>
              </a:rPr>
              <a:t>Microsoft Ignit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defTabSz="914099" eaLnBrk="0" hangingPunct="0">
              <a:defRPr/>
            </a:pPr>
            <a:r>
              <a:rPr lang="en-US" sz="400" kern="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defTabSz="914400">
              <a:defRPr/>
            </a:pPr>
            <a:fld id="{38EEC551-8CDA-4EB6-89BB-2A86C9F091C8}" type="datetime8">
              <a:rPr lang="en-US" sz="1800" kern="0" smtClean="0">
                <a:solidFill>
                  <a:sysClr val="windowText" lastClr="000000"/>
                </a:solidFill>
              </a:rPr>
              <a:pPr defTabSz="914400">
                <a:defRPr/>
              </a:pPr>
              <a:t>9/11/17 7:50 AM</a:t>
            </a:fld>
            <a:endParaRPr lang="en-US" sz="1800" kern="0" dirty="0">
              <a:solidFill>
                <a:sysClr val="windowText" lastClr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914400">
              <a:defRPr/>
            </a:pPr>
            <a:fld id="{B4008EB6-D09E-4580-8CD6-DDB14511944F}" type="slidenum">
              <a:rPr lang="en-US" sz="1800" kern="0" smtClean="0">
                <a:solidFill>
                  <a:sysClr val="windowText" lastClr="000000"/>
                </a:solidFill>
              </a:rPr>
              <a:pPr defTabSz="914400">
                <a:defRPr/>
              </a:pPr>
              <a:t>2</a:t>
            </a:fld>
            <a:endParaRPr lang="en-US" sz="1800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2505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The business landscape is becoming increasingly diver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Development </a:t>
            </a:r>
            <a:r>
              <a:rPr lang="en-US" sz="1200" dirty="0" smtClean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&amp;deployment </a:t>
            </a:r>
            <a:r>
              <a:rPr lang="en-US" sz="120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environments</a:t>
            </a:r>
            <a:r>
              <a:rPr lang="en-US" sz="1200" baseline="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 include Windows, Linux, macOS, and Dock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aseline="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Data is no longer relational, </a:t>
            </a:r>
            <a:r>
              <a:rPr lang="en-US" sz="1200" baseline="0" dirty="0" smtClean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companies are a</a:t>
            </a:r>
            <a:r>
              <a:rPr lang="en-US" sz="1200" dirty="0" smtClean="0">
                <a:solidFill>
                  <a:prstClr val="black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ccessing </a:t>
            </a: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diverse data, including video, streaming, documents, </a:t>
            </a:r>
            <a:r>
              <a:rPr lang="en-US" sz="1200" dirty="0" smtClean="0">
                <a:solidFill>
                  <a:prstClr val="black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relational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dirty="0" smtClean="0">
                <a:solidFill>
                  <a:prstClr val="black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This data is both </a:t>
            </a: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external data and data</a:t>
            </a:r>
            <a:r>
              <a:rPr lang="en-US" sz="1200" baseline="0" dirty="0">
                <a:solidFill>
                  <a:prstClr val="black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 </a:t>
            </a:r>
            <a:r>
              <a:rPr lang="en-US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rnal to their org</a:t>
            </a:r>
            <a:endParaRPr lang="en-US" sz="1200" baseline="0" dirty="0">
              <a:solidFill>
                <a:schemeClr val="accent2"/>
              </a:solidFill>
              <a:latin typeface="+mn-lt"/>
              <a:cs typeface="Segoe UI Semilight" panose="020B04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aseline="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Languages and frameworks are also expanding with the poularity of Node.js, Python, Ruby and oth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Companies deploy on-premises,</a:t>
            </a:r>
            <a:r>
              <a:rPr lang="en-US" sz="1200" baseline="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 in the cloud, or both, with a hybrid </a:t>
            </a:r>
            <a:r>
              <a:rPr lang="en-US" sz="1200" baseline="0" dirty="0" smtClean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sol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aseline="0" dirty="0" smtClean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Many enterprises use private cloud stacks such as Pivotal, Cloud Foundry, etc. that are all based on Linux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baseline="0" dirty="0" smtClean="0">
              <a:solidFill>
                <a:schemeClr val="accent2"/>
              </a:solidFill>
              <a:latin typeface="+mn-lt"/>
              <a:cs typeface="Segoe UI Semilight" panose="020B04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aseline="0" dirty="0" smtClean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We were starting to get locked out of these places because of this trend </a:t>
            </a:r>
            <a:r>
              <a:rPr lang="mr-IN" sz="1200" baseline="0" dirty="0" smtClean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–</a:t>
            </a:r>
            <a:r>
              <a:rPr lang="en-US" sz="1200" baseline="0" dirty="0" smtClean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 and we decided to fix i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aseline="0" dirty="0" smtClean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By offering SQL Server on Linux, so customers have the choice of using SQL wherever they wa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aseline="0" dirty="0" smtClean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To be honest, this isn’t the first time we’ve considered this </a:t>
            </a:r>
            <a:r>
              <a:rPr lang="mr-IN" sz="1200" baseline="0" dirty="0" smtClean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–</a:t>
            </a:r>
            <a:r>
              <a:rPr lang="en-US" sz="1200" baseline="0" dirty="0" smtClean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 but the conditions were never quite right in the pas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400">
              <a:defRPr/>
            </a:pPr>
            <a:fld id="{E68264DF-0A5C-4835-8CF4-1B7226355ED2}" type="slidenum">
              <a:rPr lang="en-US" sz="1800" kern="0" smtClean="0">
                <a:solidFill>
                  <a:sysClr val="windowText" lastClr="000000"/>
                </a:solidFill>
                <a:latin typeface="Calibri" panose="020F0502020204030204"/>
              </a:rPr>
              <a:pPr defTabSz="914400">
                <a:defRPr/>
              </a:pPr>
              <a:t>3</a:t>
            </a:fld>
            <a:endParaRPr lang="en-US" sz="1800" kern="0" dirty="0">
              <a:solidFill>
                <a:sysClr val="windowText" lastClr="00000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534439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Microsoft has delivered a number of products enabling choice for customers, including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HD Insight</a:t>
            </a:r>
            <a:r>
              <a:rPr lang="en-US" sz="1200" baseline="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 on Linux - a managed Apache Hadoop, Spark, R, HBase, and Storm cloud service made eas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R Server on Linux - </a:t>
            </a:r>
            <a:r>
              <a:rPr lang="en-US" dirty="0"/>
              <a:t>Use R—the powerful, statistical programming language—in an enterprise-class, big data analytics platform. Microsoft R Server is your flexible choice for analyzing data at scale, building intelligent apps, and discovering valuable insights across your business (https://www.microsoft.com/en-us/cloud-platform/r-server)</a:t>
            </a:r>
            <a:endParaRPr lang="en-US" sz="1200" baseline="0" dirty="0">
              <a:solidFill>
                <a:schemeClr val="accent2"/>
              </a:solidFill>
              <a:latin typeface="+mn-lt"/>
              <a:cs typeface="Segoe UI Semilight" panose="020B0402040204020203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Linux in Azure – run Linux-based virtual machines in Microsoft Azure (IaaS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stomers can take advantage of Microsoft–created database connectivity drivers and open-source drivers that enable developers to build any application using the platforms and tools of their choice, including Python, Ruby, and Node.js</a:t>
            </a:r>
            <a:endParaRPr lang="en-US" sz="1200" dirty="0">
              <a:solidFill>
                <a:schemeClr val="accent2"/>
              </a:solidFill>
              <a:latin typeface="+mn-lt"/>
              <a:cs typeface="Segoe UI Semilight" panose="020B04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400">
              <a:defRPr/>
            </a:pPr>
            <a:fld id="{E68264DF-0A5C-4835-8CF4-1B7226355ED2}" type="slidenum">
              <a:rPr lang="en-US" sz="1800" kern="0" smtClean="0">
                <a:solidFill>
                  <a:sysClr val="windowText" lastClr="000000"/>
                </a:solidFill>
                <a:latin typeface="Calibri" panose="020F0502020204030204"/>
              </a:rPr>
              <a:pPr defTabSz="914400">
                <a:defRPr/>
              </a:pPr>
              <a:t>4</a:t>
            </a:fld>
            <a:endParaRPr lang="en-US" sz="1800" kern="0" dirty="0">
              <a:solidFill>
                <a:sysClr val="windowText" lastClr="00000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5164699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3214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  <a:sym typeface="Wingdings" panose="05000000000000000000" pitchFamily="2" charset="2"/>
              </a:rPr>
              <a:t>Run anywhere and build apps using the language of your choice</a:t>
            </a:r>
          </a:p>
          <a:p>
            <a:pPr marL="0" marR="0" lvl="0" indent="0" algn="l" defTabSz="93214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Analyze complex relationships with support for graph data</a:t>
            </a:r>
          </a:p>
          <a:p>
            <a:pPr marL="0" marR="0" lvl="0" indent="0" algn="l" defTabSz="93214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  <a:sym typeface="Wingdings" panose="05000000000000000000" pitchFamily="2" charset="2"/>
              </a:rPr>
              <a:t>Advanced Machine Learning with R &amp; Python</a:t>
            </a:r>
          </a:p>
          <a:p>
            <a:pPr marL="0" marR="0" lvl="0" indent="0" algn="l" defTabSz="93214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ln w="3175">
                  <a:noFill/>
                </a:ln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  <a:sym typeface="Wingdings" panose="05000000000000000000" pitchFamily="2" charset="2"/>
              </a:rPr>
              <a:t>Unparalleled performance with adaptive query </a:t>
            </a:r>
            <a:r>
              <a:rPr lang="en-US" kern="0" dirty="0" smtClean="0">
                <a:ln w="3175">
                  <a:noFill/>
                </a:ln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  <a:sym typeface="Wingdings" panose="05000000000000000000" pitchFamily="2" charset="2"/>
              </a:rPr>
              <a:t>processing</a:t>
            </a:r>
          </a:p>
          <a:p>
            <a:pPr marL="0" marR="0" lvl="0" indent="0" algn="l" defTabSz="93214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 Semibold" panose="020B0702040204020203" pitchFamily="34" charset="0"/>
              <a:sym typeface="Wingdings" panose="05000000000000000000" pitchFamily="2" charset="2"/>
            </a:endParaRPr>
          </a:p>
          <a:p>
            <a:pPr marL="0" marR="0" lvl="0" indent="0" algn="l" defTabSz="93214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  <a:sym typeface="Wingdings" panose="05000000000000000000" pitchFamily="2" charset="2"/>
              </a:rPr>
              <a:t>Runs on the platform of your choice: Windows / Linux / Docker</a:t>
            </a:r>
            <a:endParaRPr kumimoji="0" lang="en-US" sz="1200" b="0" i="0" u="none" strike="noStrike" kern="0" cap="none" spc="0" normalizeH="0" baseline="0" noProof="0" dirty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 Semibold" panose="020B0702040204020203" pitchFamily="34" charset="0"/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829E9FC-B671-424D-AD31-3E8C5FC948FF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96705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t’s the same license, you buy the license and run SQL </a:t>
            </a:r>
            <a:r>
              <a:rPr lang="en-US" dirty="0" err="1" smtClean="0"/>
              <a:t>wherver</a:t>
            </a:r>
            <a:r>
              <a:rPr lang="en-US" dirty="0" smtClean="0"/>
              <a:t> you want.</a:t>
            </a:r>
          </a:p>
          <a:p>
            <a:r>
              <a:rPr lang="en-US" dirty="0" smtClean="0"/>
              <a:t>We’re also</a:t>
            </a:r>
            <a:r>
              <a:rPr lang="en-US" baseline="0" dirty="0" smtClean="0"/>
              <a:t> retaining the same editions (Enterprise, Standard, Developer) – same as befor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8264DF-0A5C-4835-8CF4-1B7226355ED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821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When we initially</a:t>
            </a:r>
            <a:r>
              <a:rPr lang="en-US" baseline="0" dirty="0" smtClean="0"/>
              <a:t> announced SQL on Linux, the social media went berserk and the Linux community was placing bets that Microsoft will completely screw up the install experience. </a:t>
            </a:r>
          </a:p>
          <a:p>
            <a:pPr marL="0" indent="0">
              <a:buNone/>
            </a:pPr>
            <a:endParaRPr lang="en-US" baseline="0" dirty="0" smtClean="0"/>
          </a:p>
          <a:p>
            <a:pPr marL="0" indent="0">
              <a:buNone/>
            </a:pPr>
            <a:r>
              <a:rPr lang="en-US" baseline="0" dirty="0" smtClean="0"/>
              <a:t>They said we’ll have some ugly </a:t>
            </a:r>
            <a:r>
              <a:rPr lang="en-US" baseline="0" dirty="0" err="1" smtClean="0"/>
              <a:t>tarball</a:t>
            </a:r>
            <a:r>
              <a:rPr lang="en-US" baseline="0" dirty="0" smtClean="0"/>
              <a:t> that you’ll have to unzip, etc. </a:t>
            </a:r>
          </a:p>
          <a:p>
            <a:pPr marL="0" indent="0">
              <a:buNone/>
            </a:pPr>
            <a:endParaRPr lang="en-US" baseline="0" dirty="0" smtClean="0"/>
          </a:p>
          <a:p>
            <a:pPr marL="0" indent="0">
              <a:buNone/>
            </a:pPr>
            <a:r>
              <a:rPr lang="en-US" baseline="0" dirty="0" smtClean="0"/>
              <a:t>Our goal was to meet developers where they are and provide a platform-appropriate experience.</a:t>
            </a:r>
          </a:p>
          <a:p>
            <a:pPr marL="0" indent="0">
              <a:buNone/>
            </a:pPr>
            <a:r>
              <a:rPr lang="en-US" baseline="0" dirty="0" smtClean="0"/>
              <a:t>Let me show you what we did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Microsoft Ignit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>
                <a:solidFill>
                  <a:prstClr val="black"/>
                </a:solidFill>
              </a:rPr>
              <a:pPr/>
              <a:t>9/11/17 7:50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52472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icrosoft Ignite 2016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>
                <a:solidFill>
                  <a:prstClr val="black"/>
                </a:solidFill>
              </a:rPr>
              <a:pPr/>
              <a:t>9/11/17 7:50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85103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sz="1200" dirty="0" smtClean="0"/>
              <a:t>Package app + deps + SQL Server into a portable environment</a:t>
            </a:r>
          </a:p>
          <a:p>
            <a:endParaRPr lang="en-US" sz="120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/>
              <a:t>2. Share the same state of an application in your container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 smtClean="0"/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. In addition, you can also automate large-scale testing of containerized apps + SQL Server with high-intensity container deployments with managed container services.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.g. Kubernetes, Docker Swarm, or other orchestration systems.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pin up on demand, execute tests, spin down when finished.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QL Server runs in all these environment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 smtClean="0"/>
          </a:p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C2AB1-A8D4-A746-AC25-F5426B0D3B4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7378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When we initially</a:t>
            </a:r>
            <a:r>
              <a:rPr lang="en-US" baseline="0" dirty="0" smtClean="0"/>
              <a:t> announced SQL on Linux, the social media went berserk and the Linux community was placing bets that Microsoft will completely screw up the install experience. </a:t>
            </a:r>
          </a:p>
          <a:p>
            <a:pPr marL="0" indent="0">
              <a:buNone/>
            </a:pPr>
            <a:endParaRPr lang="en-US" baseline="0" dirty="0" smtClean="0"/>
          </a:p>
          <a:p>
            <a:pPr marL="0" indent="0">
              <a:buNone/>
            </a:pPr>
            <a:r>
              <a:rPr lang="en-US" baseline="0" dirty="0" smtClean="0"/>
              <a:t>They said we’ll have some ugly </a:t>
            </a:r>
            <a:r>
              <a:rPr lang="en-US" baseline="0" dirty="0" err="1" smtClean="0"/>
              <a:t>tarball</a:t>
            </a:r>
            <a:r>
              <a:rPr lang="en-US" baseline="0" dirty="0" smtClean="0"/>
              <a:t> that you’ll have to unzip, etc. </a:t>
            </a:r>
          </a:p>
          <a:p>
            <a:pPr marL="0" indent="0">
              <a:buNone/>
            </a:pPr>
            <a:endParaRPr lang="en-US" baseline="0" dirty="0" smtClean="0"/>
          </a:p>
          <a:p>
            <a:pPr marL="0" indent="0">
              <a:buNone/>
            </a:pPr>
            <a:r>
              <a:rPr lang="en-US" baseline="0" dirty="0" smtClean="0"/>
              <a:t>Our goal was to meet developers where they are and provide a platform-appropriate experience.</a:t>
            </a:r>
          </a:p>
          <a:p>
            <a:pPr marL="0" indent="0">
              <a:buNone/>
            </a:pPr>
            <a:r>
              <a:rPr lang="en-US" baseline="0" dirty="0" smtClean="0"/>
              <a:t>Let me show you what we did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Microsoft Ignit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>
                <a:solidFill>
                  <a:prstClr val="black"/>
                </a:solidFill>
              </a:rPr>
              <a:pPr/>
              <a:t>9/11/17 7:50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68933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4" Type="http://schemas.openxmlformats.org/officeDocument/2006/relationships/image" Target="../media/image4.emf"/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3.png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5.png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6.png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2.emf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jpg"/><Relationship Id="rId3" Type="http://schemas.openxmlformats.org/officeDocument/2006/relationships/image" Target="../media/image2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7.jpg"/><Relationship Id="rId3" Type="http://schemas.openxmlformats.org/officeDocument/2006/relationships/image" Target="../media/image2.emf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8.jpg"/><Relationship Id="rId3" Type="http://schemas.openxmlformats.org/officeDocument/2006/relationships/image" Target="../media/image2.emf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9.jpg"/><Relationship Id="rId3" Type="http://schemas.openxmlformats.org/officeDocument/2006/relationships/image" Target="../media/image2.emf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0.jpg"/><Relationship Id="rId3" Type="http://schemas.openxmlformats.org/officeDocument/2006/relationships/image" Target="../media/image2.emf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1.jpg"/><Relationship Id="rId3" Type="http://schemas.openxmlformats.org/officeDocument/2006/relationships/image" Target="../media/image2.emf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2.jpg"/><Relationship Id="rId3" Type="http://schemas.openxmlformats.org/officeDocument/2006/relationships/image" Target="../media/image2.emf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3.jpg"/><Relationship Id="rId3" Type="http://schemas.openxmlformats.org/officeDocument/2006/relationships/image" Target="../media/image2.emf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4.jpg"/><Relationship Id="rId3" Type="http://schemas.openxmlformats.org/officeDocument/2006/relationships/image" Target="../media/image2.emf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5.jpg"/><Relationship Id="rId3" Type="http://schemas.openxmlformats.org/officeDocument/2006/relationships/image" Target="../media/image2.emf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6.jpg"/><Relationship Id="rId3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4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7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.jpg"/><Relationship Id="rId3" Type="http://schemas.openxmlformats.org/officeDocument/2006/relationships/image" Target="../media/image2.emf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4" Type="http://schemas.openxmlformats.org/officeDocument/2006/relationships/image" Target="../media/image4.emf"/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3.png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5.png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6.png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7.jpg"/><Relationship Id="rId3" Type="http://schemas.openxmlformats.org/officeDocument/2006/relationships/image" Target="../media/image2.emf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8.jpg"/><Relationship Id="rId3" Type="http://schemas.openxmlformats.org/officeDocument/2006/relationships/image" Target="../media/image2.emf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9.jpg"/><Relationship Id="rId3" Type="http://schemas.openxmlformats.org/officeDocument/2006/relationships/image" Target="../media/image2.emf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0.jpg"/><Relationship Id="rId3" Type="http://schemas.openxmlformats.org/officeDocument/2006/relationships/image" Target="../media/image2.emf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1.jpg"/><Relationship Id="rId3" Type="http://schemas.openxmlformats.org/officeDocument/2006/relationships/image" Target="../media/image2.emf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2.jpg"/><Relationship Id="rId3" Type="http://schemas.openxmlformats.org/officeDocument/2006/relationships/image" Target="../media/image2.emf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3.jpg"/><Relationship Id="rId3" Type="http://schemas.openxmlformats.org/officeDocument/2006/relationships/image" Target="../media/image2.emf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4.jpg"/><Relationship Id="rId3" Type="http://schemas.openxmlformats.org/officeDocument/2006/relationships/image" Target="../media/image2.emf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5.jpg"/><Relationship Id="rId3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6.jpg"/><Relationship Id="rId3" Type="http://schemas.openxmlformats.org/officeDocument/2006/relationships/image" Target="../media/image2.emf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7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36.png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.jpg"/><Relationship Id="rId3" Type="http://schemas.openxmlformats.org/officeDocument/2006/relationships/image" Target="../media/image2.emf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4" Type="http://schemas.openxmlformats.org/officeDocument/2006/relationships/image" Target="../media/image4.emf"/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3.png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5.png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6.png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2.emf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7.jpg"/><Relationship Id="rId3" Type="http://schemas.openxmlformats.org/officeDocument/2006/relationships/image" Target="../media/image2.emf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8.jpg"/><Relationship Id="rId3" Type="http://schemas.openxmlformats.org/officeDocument/2006/relationships/image" Target="../media/image2.emf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9.jpg"/><Relationship Id="rId3" Type="http://schemas.openxmlformats.org/officeDocument/2006/relationships/image" Target="../media/image2.emf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0.jpg"/><Relationship Id="rId3" Type="http://schemas.openxmlformats.org/officeDocument/2006/relationships/image" Target="../media/image2.emf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1.jpg"/><Relationship Id="rId3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2.jpg"/><Relationship Id="rId3" Type="http://schemas.openxmlformats.org/officeDocument/2006/relationships/image" Target="../media/image2.emf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3.jpg"/><Relationship Id="rId3" Type="http://schemas.openxmlformats.org/officeDocument/2006/relationships/image" Target="../media/image2.emf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4.jpg"/><Relationship Id="rId3" Type="http://schemas.openxmlformats.org/officeDocument/2006/relationships/image" Target="../media/image2.emf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5.jpg"/><Relationship Id="rId3" Type="http://schemas.openxmlformats.org/officeDocument/2006/relationships/image" Target="../media/image2.emf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6.jpg"/><Relationship Id="rId3" Type="http://schemas.openxmlformats.org/officeDocument/2006/relationships/image" Target="../media/image2.emf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7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.jpg"/><Relationship Id="rId3" Type="http://schemas.openxmlformats.org/officeDocument/2006/relationships/image" Target="../media/image2.emf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4" Type="http://schemas.openxmlformats.org/officeDocument/2006/relationships/image" Target="../media/image4.emf"/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3.png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5.png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6.png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2.emf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7.jpg"/><Relationship Id="rId3" Type="http://schemas.openxmlformats.org/officeDocument/2006/relationships/image" Target="../media/image2.emf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8.jpg"/><Relationship Id="rId3" Type="http://schemas.openxmlformats.org/officeDocument/2006/relationships/image" Target="../media/image2.emf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9.jpg"/><Relationship Id="rId3" Type="http://schemas.openxmlformats.org/officeDocument/2006/relationships/image" Target="../media/image2.emf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0.jpg"/><Relationship Id="rId3" Type="http://schemas.openxmlformats.org/officeDocument/2006/relationships/image" Target="../media/image2.emf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1.jpg"/><Relationship Id="rId3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2.jpg"/><Relationship Id="rId3" Type="http://schemas.openxmlformats.org/officeDocument/2006/relationships/image" Target="../media/image2.emf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3.jpg"/><Relationship Id="rId3" Type="http://schemas.openxmlformats.org/officeDocument/2006/relationships/image" Target="../media/image2.emf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4.jpg"/><Relationship Id="rId3" Type="http://schemas.openxmlformats.org/officeDocument/2006/relationships/image" Target="../media/image2.emf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5.jpg"/><Relationship Id="rId3" Type="http://schemas.openxmlformats.org/officeDocument/2006/relationships/image" Target="../media/image2.emf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6.jpg"/><Relationship Id="rId3" Type="http://schemas.openxmlformats.org/officeDocument/2006/relationships/image" Target="../media/image2.emf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7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jpg"/><Relationship Id="rId3" Type="http://schemas.openxmlformats.org/officeDocument/2006/relationships/image" Target="../media/image2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jpg"/><Relationship Id="rId3" Type="http://schemas.openxmlformats.org/officeDocument/2006/relationships/image" Target="../media/image2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jpg"/><Relationship Id="rId3" Type="http://schemas.openxmlformats.org/officeDocument/2006/relationships/image" Target="../media/image2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0.jpg"/><Relationship Id="rId3" Type="http://schemas.openxmlformats.org/officeDocument/2006/relationships/image" Target="../media/image2.e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g"/><Relationship Id="rId3" Type="http://schemas.openxmlformats.org/officeDocument/2006/relationships/image" Target="../media/image2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2.jpg"/><Relationship Id="rId3" Type="http://schemas.openxmlformats.org/officeDocument/2006/relationships/image" Target="../media/image2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3.jpg"/><Relationship Id="rId3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4.jpg"/><Relationship Id="rId3" Type="http://schemas.openxmlformats.org/officeDocument/2006/relationships/image" Target="../media/image2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5.jpg"/><Relationship Id="rId3" Type="http://schemas.openxmlformats.org/officeDocument/2006/relationships/image" Target="../media/image2.emf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6.jpg"/><Relationship Id="rId3" Type="http://schemas.openxmlformats.org/officeDocument/2006/relationships/image" Target="../media/image2.em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17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20.emf"/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9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1.png"/><Relationship Id="rId3" Type="http://schemas.openxmlformats.org/officeDocument/2006/relationships/image" Target="../media/image22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4" Type="http://schemas.microsoft.com/office/2007/relationships/hdphoto" Target="../media/hdphoto1.wdp"/><Relationship Id="rId5" Type="http://schemas.openxmlformats.org/officeDocument/2006/relationships/image" Target="../media/image20.emf"/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3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image" Target="../media/image20.emf"/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4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image" Target="../media/image20.emf"/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4.png"/></Relationships>
</file>

<file path=ppt/slideLayouts/_rels/slideLayout5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20.emf"/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9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1.png"/><Relationship Id="rId3" Type="http://schemas.openxmlformats.org/officeDocument/2006/relationships/image" Target="../media/image22.emf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3.png"/><Relationship Id="rId3" Type="http://schemas.openxmlformats.org/officeDocument/2006/relationships/image" Target="../media/image20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3.pn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4.png"/><Relationship Id="rId3" Type="http://schemas.openxmlformats.org/officeDocument/2006/relationships/image" Target="../media/image20.emf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5.pn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8.png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9.jpeg"/><Relationship Id="rId3" Type="http://schemas.microsoft.com/office/2007/relationships/hdphoto" Target="../media/hdphoto2.wdp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7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9.jpeg"/><Relationship Id="rId3" Type="http://schemas.microsoft.com/office/2007/relationships/hdphoto" Target="../media/hdphoto2.wdp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8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4.pn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0.emf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1.jpeg"/><Relationship Id="rId3" Type="http://schemas.openxmlformats.org/officeDocument/2006/relationships/image" Target="../media/image32.png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3.jpeg"/><Relationship Id="rId3" Type="http://schemas.openxmlformats.org/officeDocument/2006/relationships/image" Target="../media/image34.png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2.png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5.png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7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emf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.jpg"/><Relationship Id="rId3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5278C-2795-4D0E-AB2D-5ED126775F60}" type="datetimeFigureOut">
              <a:rPr lang="en-IN" smtClean="0"/>
              <a:t>11/09/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16163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5278C-2795-4D0E-AB2D-5ED126775F60}" type="datetimeFigureOut">
              <a:rPr lang="en-IN" smtClean="0"/>
              <a:t>11/09/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3719130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69302" y="1646860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69301" y="3441247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5278C-2795-4D0E-AB2D-5ED126775F60}" type="datetimeFigureOut">
              <a:rPr lang="en-IN" smtClean="0"/>
              <a:t>11/09/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4134354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654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8067822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7822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9381">
                      <a:schemeClr val="tx1"/>
                    </a:gs>
                    <a:gs pos="6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Generic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Amsterdam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Bangalo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Birmingham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Chicago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Copenhagen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Frankfurt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Johannesburg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Milan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Seoul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Singapo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69302" y="1646860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69301" y="3441247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2416"/>
            <a:ext cx="11653522" cy="1960217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0" y="228600"/>
            <a:ext cx="11151917" cy="56784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50" y="1447803"/>
            <a:ext cx="11151917" cy="961637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73"/>
              </a:spcAft>
              <a:buNone/>
              <a:defRPr sz="3200" spc="-100" baseline="0"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defRPr sz="1800" spc="-50" baseline="0"/>
            </a:lvl2pPr>
            <a:lvl3pPr marL="0" indent="0">
              <a:spcBef>
                <a:spcPts val="0"/>
              </a:spcBef>
              <a:spcAft>
                <a:spcPts val="300"/>
              </a:spcAft>
              <a:buNone/>
              <a:defRPr sz="150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300"/>
              </a:spcAft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er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473825" y="1893347"/>
            <a:ext cx="7027206" cy="4255917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04" tIns="44802" rIns="89604" bIns="448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245"/>
            <a:endParaRPr lang="en-US" sz="1765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C0000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9242" y="289514"/>
            <a:ext cx="11655078" cy="788175"/>
          </a:xfrm>
        </p:spPr>
        <p:txBody>
          <a:bodyPr/>
          <a:lstStyle>
            <a:lvl1pPr>
              <a:defRPr sz="5298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269875" y="1077915"/>
            <a:ext cx="11653838" cy="6381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503513" y="6566924"/>
            <a:ext cx="318497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/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5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466022" y="1606841"/>
            <a:ext cx="6742571" cy="49218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154" fontAlgn="base">
              <a:spcBef>
                <a:spcPts val="196"/>
              </a:spcBef>
              <a:spcAft>
                <a:spcPts val="784"/>
              </a:spcAft>
            </a:pPr>
            <a:endParaRPr lang="en-US" sz="1961" dirty="0">
              <a:solidFill>
                <a:srgbClr val="505050"/>
              </a:solidFill>
              <a:latin typeface="Segoe UI Light" panose="020B0502040204020203" pitchFamily="34" charset="0"/>
              <a:ea typeface="MS PGothic" charset="0"/>
              <a:cs typeface="Segoe UI Light" panose="020B0502040204020203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385723" y="1825625"/>
            <a:ext cx="4536727" cy="2598340"/>
          </a:xfrm>
          <a:ln>
            <a:noFill/>
          </a:ln>
        </p:spPr>
        <p:txBody>
          <a:bodyPr/>
          <a:lstStyle>
            <a:lvl1pPr>
              <a:defRPr>
                <a:solidFill>
                  <a:srgbClr val="505050"/>
                </a:solidFill>
              </a:defRPr>
            </a:lvl1pPr>
            <a:lvl2pPr>
              <a:defRPr>
                <a:solidFill>
                  <a:srgbClr val="505050"/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Righ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6160077" y="1606842"/>
            <a:ext cx="5758179" cy="490927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54" fontAlgn="base">
              <a:spcBef>
                <a:spcPts val="196"/>
              </a:spcBef>
              <a:spcAft>
                <a:spcPts val="784"/>
              </a:spcAft>
            </a:pPr>
            <a:endParaRPr lang="en-US" sz="2400" dirty="0">
              <a:solidFill>
                <a:srgbClr val="F8F8F8">
                  <a:lumMod val="75000"/>
                </a:srgbClr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>
            <a:normAutofit/>
          </a:bodyPr>
          <a:lstStyle>
            <a:lvl1pPr algn="l">
              <a:defRPr sz="43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68927" y="1774270"/>
            <a:ext cx="5511088" cy="4520746"/>
          </a:xfrm>
          <a:ln>
            <a:noFill/>
          </a:ln>
        </p:spPr>
        <p:txBody>
          <a:bodyPr>
            <a:normAutofit/>
          </a:bodyPr>
          <a:lstStyle>
            <a:lvl1pPr>
              <a:defRPr sz="2000">
                <a:solidFill>
                  <a:srgbClr val="505050"/>
                </a:solidFill>
              </a:defRPr>
            </a:lvl1pPr>
            <a:lvl2pPr>
              <a:defRPr sz="1800">
                <a:solidFill>
                  <a:srgbClr val="505050"/>
                </a:solidFill>
              </a:defRPr>
            </a:lvl2pPr>
            <a:lvl3pPr>
              <a:defRPr sz="1600">
                <a:solidFill>
                  <a:srgbClr val="505050"/>
                </a:solidFill>
              </a:defRPr>
            </a:lvl3pPr>
            <a:lvl4pPr>
              <a:defRPr sz="1400">
                <a:solidFill>
                  <a:srgbClr val="505050"/>
                </a:solidFill>
              </a:defRPr>
            </a:lvl4pPr>
            <a:lvl5pPr>
              <a:defRPr sz="1400"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5" y="334170"/>
            <a:ext cx="11381306" cy="8925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" y="1428466"/>
            <a:ext cx="12191999" cy="5429534"/>
          </a:xfrm>
          <a:prstGeom prst="rect">
            <a:avLst/>
          </a:prstGeom>
          <a:solidFill>
            <a:srgbClr val="E5F1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9989" rtlCol="0" anchor="ctr"/>
          <a:lstStyle/>
          <a:p>
            <a:pPr defTabSz="914225">
              <a:defRPr/>
            </a:pPr>
            <a:endParaRPr lang="en-US" sz="7998" kern="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315200" y="1510353"/>
            <a:ext cx="4876800" cy="53459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dist="38100" dir="10800000" algn="r" rotWithShape="0">
              <a:schemeClr val="bg1">
                <a:lumMod val="75000"/>
                <a:alpha val="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sz="1800" kern="0" dirty="0">
              <a:solidFill>
                <a:sysClr val="windowText" lastClr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>
          <a:xfrm>
            <a:off x="603251" y="1061545"/>
            <a:ext cx="10989733" cy="56020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buClr>
                <a:srgbClr val="0090D2"/>
              </a:buCl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buClr>
                <a:srgbClr val="0090D2"/>
              </a:buCl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buClr>
                <a:srgbClr val="0090D2"/>
              </a:buCl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buClr>
                <a:srgbClr val="0090D2"/>
              </a:buCl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251" y="1"/>
            <a:ext cx="10989733" cy="914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0D2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48344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Generic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69302" y="1646860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69301" y="3441247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654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8067822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7822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9381">
                      <a:schemeClr val="tx1"/>
                    </a:gs>
                    <a:gs pos="6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Amsterdam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Bangalo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Birmingham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Chicago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Copenhagen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Frankfurt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Johannesburg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Milan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Seoul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Singapo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2416"/>
            <a:ext cx="11653522" cy="1960217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0" y="228600"/>
            <a:ext cx="11151917" cy="56784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50" y="1447803"/>
            <a:ext cx="11151917" cy="961637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73"/>
              </a:spcAft>
              <a:buNone/>
              <a:defRPr sz="3200" spc="-100" baseline="0"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defRPr sz="1800" spc="-50" baseline="0"/>
            </a:lvl2pPr>
            <a:lvl3pPr marL="0" indent="0">
              <a:spcBef>
                <a:spcPts val="0"/>
              </a:spcBef>
              <a:spcAft>
                <a:spcPts val="300"/>
              </a:spcAft>
              <a:buNone/>
              <a:defRPr sz="150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300"/>
              </a:spcAft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er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473825" y="1893347"/>
            <a:ext cx="7027206" cy="4255917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04" tIns="44802" rIns="89604" bIns="448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245"/>
            <a:endParaRPr lang="en-US" sz="1765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C0000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9242" y="289514"/>
            <a:ext cx="11655078" cy="788175"/>
          </a:xfrm>
        </p:spPr>
        <p:txBody>
          <a:bodyPr/>
          <a:lstStyle>
            <a:lvl1pPr>
              <a:defRPr sz="5298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269875" y="1077915"/>
            <a:ext cx="11653838" cy="6381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503513" y="6566924"/>
            <a:ext cx="318497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/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5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466022" y="1606841"/>
            <a:ext cx="6742571" cy="49218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154" fontAlgn="base">
              <a:spcBef>
                <a:spcPts val="196"/>
              </a:spcBef>
              <a:spcAft>
                <a:spcPts val="784"/>
              </a:spcAft>
            </a:pPr>
            <a:endParaRPr lang="en-US" sz="1961" dirty="0">
              <a:solidFill>
                <a:srgbClr val="505050"/>
              </a:solidFill>
              <a:latin typeface="Segoe UI Light" panose="020B0502040204020203" pitchFamily="34" charset="0"/>
              <a:ea typeface="MS PGothic" charset="0"/>
              <a:cs typeface="Segoe UI Light" panose="020B0502040204020203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385723" y="1825625"/>
            <a:ext cx="4536727" cy="2598340"/>
          </a:xfrm>
          <a:ln>
            <a:noFill/>
          </a:ln>
        </p:spPr>
        <p:txBody>
          <a:bodyPr/>
          <a:lstStyle>
            <a:lvl1pPr>
              <a:defRPr>
                <a:solidFill>
                  <a:srgbClr val="505050"/>
                </a:solidFill>
              </a:defRPr>
            </a:lvl1pPr>
            <a:lvl2pPr>
              <a:defRPr>
                <a:solidFill>
                  <a:srgbClr val="505050"/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Righ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6160077" y="1606842"/>
            <a:ext cx="5758179" cy="490927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54" fontAlgn="base">
              <a:spcBef>
                <a:spcPts val="196"/>
              </a:spcBef>
              <a:spcAft>
                <a:spcPts val="784"/>
              </a:spcAft>
            </a:pPr>
            <a:endParaRPr lang="en-US" sz="2400" dirty="0">
              <a:solidFill>
                <a:srgbClr val="F8F8F8">
                  <a:lumMod val="75000"/>
                </a:srgbClr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>
            <a:normAutofit/>
          </a:bodyPr>
          <a:lstStyle>
            <a:lvl1pPr algn="l">
              <a:defRPr sz="43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68927" y="1774270"/>
            <a:ext cx="5511088" cy="4520746"/>
          </a:xfrm>
          <a:ln>
            <a:noFill/>
          </a:ln>
        </p:spPr>
        <p:txBody>
          <a:bodyPr>
            <a:normAutofit/>
          </a:bodyPr>
          <a:lstStyle>
            <a:lvl1pPr>
              <a:defRPr sz="2000">
                <a:solidFill>
                  <a:srgbClr val="505050"/>
                </a:solidFill>
              </a:defRPr>
            </a:lvl1pPr>
            <a:lvl2pPr>
              <a:defRPr sz="1800">
                <a:solidFill>
                  <a:srgbClr val="505050"/>
                </a:solidFill>
              </a:defRPr>
            </a:lvl2pPr>
            <a:lvl3pPr>
              <a:defRPr sz="1600">
                <a:solidFill>
                  <a:srgbClr val="505050"/>
                </a:solidFill>
              </a:defRPr>
            </a:lvl3pPr>
            <a:lvl4pPr>
              <a:defRPr sz="1400">
                <a:solidFill>
                  <a:srgbClr val="505050"/>
                </a:solidFill>
              </a:defRPr>
            </a:lvl4pPr>
            <a:lvl5pPr>
              <a:defRPr sz="1400"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5" y="334170"/>
            <a:ext cx="11381306" cy="8925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" y="1428466"/>
            <a:ext cx="12191999" cy="5429534"/>
          </a:xfrm>
          <a:prstGeom prst="rect">
            <a:avLst/>
          </a:prstGeom>
          <a:solidFill>
            <a:srgbClr val="E5F1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9989" rtlCol="0" anchor="ctr"/>
          <a:lstStyle/>
          <a:p>
            <a:pPr defTabSz="914225">
              <a:defRPr/>
            </a:pPr>
            <a:endParaRPr lang="en-US" sz="7998" kern="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315200" y="1510353"/>
            <a:ext cx="4876800" cy="53459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dist="38100" dir="10800000" algn="r" rotWithShape="0">
              <a:schemeClr val="bg1">
                <a:lumMod val="75000"/>
                <a:alpha val="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sz="1800" kern="0" dirty="0">
              <a:solidFill>
                <a:sysClr val="windowText" lastClr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1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1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1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1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1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1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1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1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1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1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1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>
          <a:xfrm>
            <a:off x="603251" y="1061545"/>
            <a:ext cx="10989733" cy="56020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buClr>
                <a:srgbClr val="0090D2"/>
              </a:buCl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buClr>
                <a:srgbClr val="0090D2"/>
              </a:buCl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buClr>
                <a:srgbClr val="0090D2"/>
              </a:buCl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buClr>
                <a:srgbClr val="0090D2"/>
              </a:buCl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251" y="1"/>
            <a:ext cx="10989733" cy="914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0D2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251" y="1"/>
            <a:ext cx="10989733" cy="914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0D2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 Soli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40" y="2622112"/>
            <a:ext cx="11007660" cy="1703429"/>
          </a:xfrm>
        </p:spPr>
        <p:txBody>
          <a:bodyPr anchor="ctr"/>
          <a:lstStyle>
            <a:lvl1pPr>
              <a:defRPr sz="5882">
                <a:solidFill>
                  <a:schemeClr val="tx2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996" y="482863"/>
            <a:ext cx="1225864" cy="261495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2000">
        <p:fade/>
      </p:transition>
    </mc:Choice>
    <mc:Fallback xmlns="">
      <p:transition spd="med" advClick="0" advTm="2000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Generic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69302" y="1646860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69301" y="3441247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5278C-2795-4D0E-AB2D-5ED126775F60}" type="datetimeFigureOut">
              <a:rPr lang="en-IN" smtClean="0"/>
              <a:t>11/09/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708706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654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8067822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7822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9381">
                      <a:schemeClr val="tx1"/>
                    </a:gs>
                    <a:gs pos="6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Amsterdam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Bangalo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Birmingham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Chicago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Copenhagen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Frankfurt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Johannesburg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Milan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Seoul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Singapo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2416"/>
            <a:ext cx="11653522" cy="1960217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0" y="228600"/>
            <a:ext cx="11151917" cy="56784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50" y="1447803"/>
            <a:ext cx="11151917" cy="961637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73"/>
              </a:spcAft>
              <a:buNone/>
              <a:defRPr sz="3200" spc="-100" baseline="0"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defRPr sz="1800" spc="-50" baseline="0"/>
            </a:lvl2pPr>
            <a:lvl3pPr marL="0" indent="0">
              <a:spcBef>
                <a:spcPts val="0"/>
              </a:spcBef>
              <a:spcAft>
                <a:spcPts val="300"/>
              </a:spcAft>
              <a:buNone/>
              <a:defRPr sz="150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300"/>
              </a:spcAft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er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473825" y="1893347"/>
            <a:ext cx="7027206" cy="4255917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04" tIns="44802" rIns="89604" bIns="448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245"/>
            <a:endParaRPr lang="en-US" sz="1765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C0000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9242" y="289514"/>
            <a:ext cx="11655078" cy="788175"/>
          </a:xfrm>
        </p:spPr>
        <p:txBody>
          <a:bodyPr/>
          <a:lstStyle>
            <a:lvl1pPr>
              <a:defRPr sz="5298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269875" y="1077915"/>
            <a:ext cx="11653838" cy="6381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503513" y="6566924"/>
            <a:ext cx="318497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654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8067822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/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5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466022" y="1606841"/>
            <a:ext cx="6742571" cy="49218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154" fontAlgn="base">
              <a:spcBef>
                <a:spcPts val="196"/>
              </a:spcBef>
              <a:spcAft>
                <a:spcPts val="784"/>
              </a:spcAft>
            </a:pPr>
            <a:endParaRPr lang="en-US" sz="1961" dirty="0">
              <a:solidFill>
                <a:srgbClr val="505050"/>
              </a:solidFill>
              <a:latin typeface="Segoe UI Light" panose="020B0502040204020203" pitchFamily="34" charset="0"/>
              <a:ea typeface="MS PGothic" charset="0"/>
              <a:cs typeface="Segoe UI Light" panose="020B0502040204020203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385723" y="1825625"/>
            <a:ext cx="4536727" cy="2598340"/>
          </a:xfrm>
          <a:ln>
            <a:noFill/>
          </a:ln>
        </p:spPr>
        <p:txBody>
          <a:bodyPr/>
          <a:lstStyle>
            <a:lvl1pPr>
              <a:defRPr>
                <a:solidFill>
                  <a:srgbClr val="505050"/>
                </a:solidFill>
              </a:defRPr>
            </a:lvl1pPr>
            <a:lvl2pPr>
              <a:defRPr>
                <a:solidFill>
                  <a:srgbClr val="505050"/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Righ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6160077" y="1606842"/>
            <a:ext cx="5758179" cy="490927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54" fontAlgn="base">
              <a:spcBef>
                <a:spcPts val="196"/>
              </a:spcBef>
              <a:spcAft>
                <a:spcPts val="784"/>
              </a:spcAft>
            </a:pPr>
            <a:endParaRPr lang="en-US" sz="2400" dirty="0">
              <a:solidFill>
                <a:srgbClr val="F8F8F8">
                  <a:lumMod val="75000"/>
                </a:srgbClr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>
            <a:normAutofit/>
          </a:bodyPr>
          <a:lstStyle>
            <a:lvl1pPr algn="l">
              <a:defRPr sz="43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68927" y="1774270"/>
            <a:ext cx="5511088" cy="4520746"/>
          </a:xfrm>
          <a:ln>
            <a:noFill/>
          </a:ln>
        </p:spPr>
        <p:txBody>
          <a:bodyPr>
            <a:normAutofit/>
          </a:bodyPr>
          <a:lstStyle>
            <a:lvl1pPr>
              <a:defRPr sz="2000">
                <a:solidFill>
                  <a:srgbClr val="505050"/>
                </a:solidFill>
              </a:defRPr>
            </a:lvl1pPr>
            <a:lvl2pPr>
              <a:defRPr sz="1800">
                <a:solidFill>
                  <a:srgbClr val="505050"/>
                </a:solidFill>
              </a:defRPr>
            </a:lvl2pPr>
            <a:lvl3pPr>
              <a:defRPr sz="1600">
                <a:solidFill>
                  <a:srgbClr val="505050"/>
                </a:solidFill>
              </a:defRPr>
            </a:lvl3pPr>
            <a:lvl4pPr>
              <a:defRPr sz="1400">
                <a:solidFill>
                  <a:srgbClr val="505050"/>
                </a:solidFill>
              </a:defRPr>
            </a:lvl4pPr>
            <a:lvl5pPr>
              <a:defRPr sz="1400"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5" y="334170"/>
            <a:ext cx="11381306" cy="8925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" y="1428466"/>
            <a:ext cx="12191999" cy="5429534"/>
          </a:xfrm>
          <a:prstGeom prst="rect">
            <a:avLst/>
          </a:prstGeom>
          <a:solidFill>
            <a:srgbClr val="E5F1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9989" rtlCol="0" anchor="ctr"/>
          <a:lstStyle/>
          <a:p>
            <a:pPr defTabSz="914225">
              <a:defRPr/>
            </a:pPr>
            <a:endParaRPr lang="en-US" sz="7998" kern="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315200" y="1510353"/>
            <a:ext cx="4876800" cy="53459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dist="38100" dir="10800000" algn="r" rotWithShape="0">
              <a:schemeClr val="bg1">
                <a:lumMod val="75000"/>
                <a:alpha val="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sz="1800" kern="0" dirty="0">
              <a:solidFill>
                <a:sysClr val="windowText" lastClr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Generic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69302" y="1646860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69301" y="3441247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7822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654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8067822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7822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9381">
                      <a:schemeClr val="tx1"/>
                    </a:gs>
                    <a:gs pos="6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Amsterdam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Bangalo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Birmingham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Chicago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Copenhagen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9381">
                      <a:schemeClr val="tx1"/>
                    </a:gs>
                    <a:gs pos="6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Frankfurt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Johannesburg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Milan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Seoul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Singapo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2416"/>
            <a:ext cx="11653522" cy="1960217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0" y="228600"/>
            <a:ext cx="11151917" cy="56784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50" y="1447803"/>
            <a:ext cx="11151917" cy="961637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73"/>
              </a:spcAft>
              <a:buNone/>
              <a:defRPr sz="3200" spc="-100" baseline="0"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defRPr sz="1800" spc="-50" baseline="0"/>
            </a:lvl2pPr>
            <a:lvl3pPr marL="0" indent="0">
              <a:spcBef>
                <a:spcPts val="0"/>
              </a:spcBef>
              <a:spcAft>
                <a:spcPts val="300"/>
              </a:spcAft>
              <a:buNone/>
              <a:defRPr sz="150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300"/>
              </a:spcAft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er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473825" y="1893347"/>
            <a:ext cx="7027206" cy="4255917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04" tIns="44802" rIns="89604" bIns="448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245"/>
            <a:endParaRPr lang="en-US" sz="1765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C0000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9242" y="289514"/>
            <a:ext cx="11655078" cy="788175"/>
          </a:xfrm>
        </p:spPr>
        <p:txBody>
          <a:bodyPr/>
          <a:lstStyle>
            <a:lvl1pPr>
              <a:defRPr sz="5298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269875" y="1077915"/>
            <a:ext cx="11653838" cy="6381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503513" y="6566924"/>
            <a:ext cx="318497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/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5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466022" y="1606841"/>
            <a:ext cx="6742571" cy="49218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154" fontAlgn="base">
              <a:spcBef>
                <a:spcPts val="196"/>
              </a:spcBef>
              <a:spcAft>
                <a:spcPts val="784"/>
              </a:spcAft>
            </a:pPr>
            <a:endParaRPr lang="en-US" sz="1961" dirty="0">
              <a:solidFill>
                <a:srgbClr val="505050"/>
              </a:solidFill>
              <a:latin typeface="Segoe UI Light" panose="020B0502040204020203" pitchFamily="34" charset="0"/>
              <a:ea typeface="MS PGothic" charset="0"/>
              <a:cs typeface="Segoe UI Light" panose="020B0502040204020203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385723" y="1825625"/>
            <a:ext cx="4536727" cy="2598340"/>
          </a:xfrm>
          <a:ln>
            <a:noFill/>
          </a:ln>
        </p:spPr>
        <p:txBody>
          <a:bodyPr/>
          <a:lstStyle>
            <a:lvl1pPr>
              <a:defRPr>
                <a:solidFill>
                  <a:srgbClr val="505050"/>
                </a:solidFill>
              </a:defRPr>
            </a:lvl1pPr>
            <a:lvl2pPr>
              <a:defRPr>
                <a:solidFill>
                  <a:srgbClr val="505050"/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Righ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6160077" y="1606842"/>
            <a:ext cx="5758179" cy="490927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54" fontAlgn="base">
              <a:spcBef>
                <a:spcPts val="196"/>
              </a:spcBef>
              <a:spcAft>
                <a:spcPts val="784"/>
              </a:spcAft>
            </a:pPr>
            <a:endParaRPr lang="en-US" sz="2400" dirty="0">
              <a:solidFill>
                <a:srgbClr val="F8F8F8">
                  <a:lumMod val="75000"/>
                </a:srgbClr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>
            <a:normAutofit/>
          </a:bodyPr>
          <a:lstStyle>
            <a:lvl1pPr algn="l">
              <a:defRPr sz="43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68927" y="1774270"/>
            <a:ext cx="5511088" cy="4520746"/>
          </a:xfrm>
          <a:ln>
            <a:noFill/>
          </a:ln>
        </p:spPr>
        <p:txBody>
          <a:bodyPr>
            <a:normAutofit/>
          </a:bodyPr>
          <a:lstStyle>
            <a:lvl1pPr>
              <a:defRPr sz="2000">
                <a:solidFill>
                  <a:srgbClr val="505050"/>
                </a:solidFill>
              </a:defRPr>
            </a:lvl1pPr>
            <a:lvl2pPr>
              <a:defRPr sz="1800">
                <a:solidFill>
                  <a:srgbClr val="505050"/>
                </a:solidFill>
              </a:defRPr>
            </a:lvl2pPr>
            <a:lvl3pPr>
              <a:defRPr sz="1600">
                <a:solidFill>
                  <a:srgbClr val="505050"/>
                </a:solidFill>
              </a:defRPr>
            </a:lvl3pPr>
            <a:lvl4pPr>
              <a:defRPr sz="1400">
                <a:solidFill>
                  <a:srgbClr val="505050"/>
                </a:solidFill>
              </a:defRPr>
            </a:lvl4pPr>
            <a:lvl5pPr>
              <a:defRPr sz="1400"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5" y="334170"/>
            <a:ext cx="11381306" cy="8925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" y="1428466"/>
            <a:ext cx="12191999" cy="5429534"/>
          </a:xfrm>
          <a:prstGeom prst="rect">
            <a:avLst/>
          </a:prstGeom>
          <a:solidFill>
            <a:srgbClr val="E5F1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9989" rtlCol="0" anchor="ctr"/>
          <a:lstStyle/>
          <a:p>
            <a:pPr defTabSz="914225">
              <a:defRPr/>
            </a:pPr>
            <a:endParaRPr lang="en-US" sz="7998" kern="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315200" y="1510353"/>
            <a:ext cx="4876800" cy="53459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dist="38100" dir="10800000" algn="r" rotWithShape="0">
              <a:schemeClr val="bg1">
                <a:lumMod val="75000"/>
                <a:alpha val="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sz="1800" kern="0" dirty="0">
              <a:solidFill>
                <a:sysClr val="windowText" lastClr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5278C-2795-4D0E-AB2D-5ED126775F60}" type="datetimeFigureOut">
              <a:rPr lang="en-IN" smtClean="0"/>
              <a:t>11/09/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75125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Amsterdam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Bangalo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Birmingham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Chicago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Copenhagen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Frankfurt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Johannesburg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5278C-2795-4D0E-AB2D-5ED126775F60}" type="datetimeFigureOut">
              <a:rPr lang="en-IN" smtClean="0"/>
              <a:t>11/09/17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544680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Milan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Seoul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Singapo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2416"/>
            <a:ext cx="11653522" cy="1960217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0" y="228600"/>
            <a:ext cx="11151917" cy="56784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50" y="1447803"/>
            <a:ext cx="11151917" cy="961637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73"/>
              </a:spcAft>
              <a:buNone/>
              <a:defRPr sz="3200" spc="-100" baseline="0"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defRPr sz="1800" spc="-50" baseline="0"/>
            </a:lvl2pPr>
            <a:lvl3pPr marL="0" indent="0">
              <a:spcBef>
                <a:spcPts val="0"/>
              </a:spcBef>
              <a:spcAft>
                <a:spcPts val="300"/>
              </a:spcAft>
              <a:buNone/>
              <a:defRPr sz="150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300"/>
              </a:spcAft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er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473825" y="1893347"/>
            <a:ext cx="7027206" cy="4255917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04" tIns="44802" rIns="89604" bIns="448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245"/>
            <a:endParaRPr lang="en-US" sz="1765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C0000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9242" y="289514"/>
            <a:ext cx="11655078" cy="788175"/>
          </a:xfrm>
        </p:spPr>
        <p:txBody>
          <a:bodyPr/>
          <a:lstStyle>
            <a:lvl1pPr>
              <a:defRPr sz="5298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269875" y="1077915"/>
            <a:ext cx="11653838" cy="6381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503513" y="6566924"/>
            <a:ext cx="318497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/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5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466022" y="1606841"/>
            <a:ext cx="6742571" cy="49218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154" fontAlgn="base">
              <a:spcBef>
                <a:spcPts val="196"/>
              </a:spcBef>
              <a:spcAft>
                <a:spcPts val="784"/>
              </a:spcAft>
            </a:pPr>
            <a:endParaRPr lang="en-US" sz="1961" dirty="0">
              <a:solidFill>
                <a:srgbClr val="505050"/>
              </a:solidFill>
              <a:latin typeface="Segoe UI Light" panose="020B0502040204020203" pitchFamily="34" charset="0"/>
              <a:ea typeface="MS PGothic" charset="0"/>
              <a:cs typeface="Segoe UI Light" panose="020B0502040204020203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385723" y="1825625"/>
            <a:ext cx="4536727" cy="2598340"/>
          </a:xfrm>
          <a:ln>
            <a:noFill/>
          </a:ln>
        </p:spPr>
        <p:txBody>
          <a:bodyPr/>
          <a:lstStyle>
            <a:lvl1pPr>
              <a:defRPr>
                <a:solidFill>
                  <a:srgbClr val="505050"/>
                </a:solidFill>
              </a:defRPr>
            </a:lvl1pPr>
            <a:lvl2pPr>
              <a:defRPr>
                <a:solidFill>
                  <a:srgbClr val="505050"/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5278C-2795-4D0E-AB2D-5ED126775F60}" type="datetimeFigureOut">
              <a:rPr lang="en-IN" smtClean="0"/>
              <a:t>11/09/17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4864611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Righ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6160077" y="1606842"/>
            <a:ext cx="5758179" cy="490927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54" fontAlgn="base">
              <a:spcBef>
                <a:spcPts val="196"/>
              </a:spcBef>
              <a:spcAft>
                <a:spcPts val="784"/>
              </a:spcAft>
            </a:pPr>
            <a:endParaRPr lang="en-US" sz="2400" dirty="0">
              <a:solidFill>
                <a:srgbClr val="F8F8F8">
                  <a:lumMod val="75000"/>
                </a:srgbClr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>
            <a:normAutofit/>
          </a:bodyPr>
          <a:lstStyle>
            <a:lvl1pPr algn="l">
              <a:defRPr sz="43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68927" y="1774270"/>
            <a:ext cx="5511088" cy="4520746"/>
          </a:xfrm>
          <a:ln>
            <a:noFill/>
          </a:ln>
        </p:spPr>
        <p:txBody>
          <a:bodyPr>
            <a:normAutofit/>
          </a:bodyPr>
          <a:lstStyle>
            <a:lvl1pPr>
              <a:defRPr sz="2000">
                <a:solidFill>
                  <a:srgbClr val="505050"/>
                </a:solidFill>
              </a:defRPr>
            </a:lvl1pPr>
            <a:lvl2pPr>
              <a:defRPr sz="1800">
                <a:solidFill>
                  <a:srgbClr val="505050"/>
                </a:solidFill>
              </a:defRPr>
            </a:lvl2pPr>
            <a:lvl3pPr>
              <a:defRPr sz="1600">
                <a:solidFill>
                  <a:srgbClr val="505050"/>
                </a:solidFill>
              </a:defRPr>
            </a:lvl3pPr>
            <a:lvl4pPr>
              <a:defRPr sz="1400">
                <a:solidFill>
                  <a:srgbClr val="505050"/>
                </a:solidFill>
              </a:defRPr>
            </a:lvl4pPr>
            <a:lvl5pPr>
              <a:defRPr sz="1400"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5" y="334170"/>
            <a:ext cx="11381306" cy="8925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" y="1428466"/>
            <a:ext cx="12191999" cy="5429534"/>
          </a:xfrm>
          <a:prstGeom prst="rect">
            <a:avLst/>
          </a:prstGeom>
          <a:solidFill>
            <a:srgbClr val="E5F1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9989" rtlCol="0" anchor="ctr"/>
          <a:lstStyle/>
          <a:p>
            <a:pPr defTabSz="914225">
              <a:defRPr/>
            </a:pPr>
            <a:endParaRPr lang="en-US" sz="7998" kern="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315200" y="1510353"/>
            <a:ext cx="4876800" cy="53459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dist="38100" dir="10800000" algn="r" rotWithShape="0">
              <a:schemeClr val="bg1">
                <a:lumMod val="75000"/>
                <a:alpha val="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sz="1800" kern="0" dirty="0">
              <a:solidFill>
                <a:sysClr val="windowText" lastClr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" y="6121190"/>
            <a:ext cx="12192000" cy="754062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101600" dist="12700" dir="16200000" rotWithShape="0">
              <a:prstClr val="black">
                <a:alpha val="3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/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invGray">
          <a:xfrm>
            <a:off x="317979" y="6371704"/>
            <a:ext cx="1045829" cy="228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5707" y="392900"/>
            <a:ext cx="3181771" cy="509899"/>
          </a:xfrm>
          <a:prstGeom prst="rect">
            <a:avLst/>
          </a:prstGeom>
        </p:spPr>
      </p:pic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40690" y="3954780"/>
            <a:ext cx="9363061" cy="1551194"/>
          </a:xfrm>
          <a:prstGeom prst="rect">
            <a:avLst/>
          </a:prstGeom>
          <a:noFill/>
        </p:spPr>
        <p:txBody>
          <a:bodyPr wrap="square" lIns="146304" tIns="109728" rIns="146304" bIns="109728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peaker Name</a:t>
            </a:r>
          </a:p>
          <a:p>
            <a:r>
              <a:rPr lang="en-US" dirty="0">
                <a:solidFill>
                  <a:schemeClr val="bg1"/>
                </a:solidFill>
              </a:rPr>
              <a:t>Title</a:t>
            </a:r>
          </a:p>
          <a:p>
            <a:r>
              <a:rPr lang="en-US" dirty="0">
                <a:solidFill>
                  <a:schemeClr val="bg1"/>
                </a:solidFill>
              </a:rPr>
              <a:t>Other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>
            <a:off x="440692" y="2114550"/>
            <a:ext cx="9363062" cy="1840230"/>
          </a:xfrm>
          <a:prstGeom prst="rect">
            <a:avLst/>
          </a:prstGeom>
        </p:spPr>
        <p:txBody>
          <a:bodyPr lIns="146304" tIns="9144" rIns="146304" bIns="9144" anchor="b" anchorCtr="0"/>
          <a:lstStyle>
            <a:lvl1pPr marL="0" indent="0">
              <a:spcBef>
                <a:spcPts val="0"/>
              </a:spcBef>
              <a:buNone/>
              <a:defRPr sz="5996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5996" dirty="0">
                <a:solidFill>
                  <a:schemeClr val="bg1"/>
                </a:solidFill>
              </a:rPr>
              <a:t>Presentation title</a:t>
            </a:r>
          </a:p>
        </p:txBody>
      </p:sp>
    </p:spTree>
    <p:extLst/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8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8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8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3" y="487"/>
            <a:ext cx="12191999" cy="66453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25400" dist="12700" dir="5400000" algn="t" rotWithShape="0">
              <a:prstClr val="black">
                <a:alpha val="18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559" y="215806"/>
            <a:ext cx="1187693" cy="25468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9319" y="6227612"/>
            <a:ext cx="3067892" cy="360385"/>
          </a:xfrm>
          <a:prstGeom prst="rect">
            <a:avLst/>
          </a:prstGeom>
        </p:spPr>
      </p:pic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40690" y="3954780"/>
            <a:ext cx="9363061" cy="1551194"/>
          </a:xfrm>
          <a:prstGeom prst="rect">
            <a:avLst/>
          </a:prstGeom>
          <a:noFill/>
        </p:spPr>
        <p:txBody>
          <a:bodyPr wrap="square" lIns="146304" tIns="109728" rIns="146304" bIns="109728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peaker Name</a:t>
            </a:r>
          </a:p>
          <a:p>
            <a:r>
              <a:rPr lang="en-US" dirty="0">
                <a:solidFill>
                  <a:schemeClr val="bg1"/>
                </a:solidFill>
              </a:rPr>
              <a:t>Title</a:t>
            </a:r>
          </a:p>
          <a:p>
            <a:r>
              <a:rPr lang="en-US" dirty="0">
                <a:solidFill>
                  <a:schemeClr val="bg1"/>
                </a:solidFill>
              </a:rPr>
              <a:t>Other</a:t>
            </a:r>
          </a:p>
        </p:txBody>
      </p:sp>
      <p:sp>
        <p:nvSpPr>
          <p:cNvPr id="15" name="Title 12"/>
          <p:cNvSpPr>
            <a:spLocks noGrp="1"/>
          </p:cNvSpPr>
          <p:nvPr>
            <p:ph type="title" hasCustomPrompt="1"/>
          </p:nvPr>
        </p:nvSpPr>
        <p:spPr>
          <a:xfrm>
            <a:off x="440692" y="2114550"/>
            <a:ext cx="9363062" cy="1840230"/>
          </a:xfrm>
          <a:prstGeom prst="rect">
            <a:avLst/>
          </a:prstGeom>
        </p:spPr>
        <p:txBody>
          <a:bodyPr lIns="146304" tIns="9144" rIns="146304" bIns="9144" anchor="b" anchorCtr="0"/>
          <a:lstStyle>
            <a:lvl1pPr marL="0" indent="0">
              <a:spcBef>
                <a:spcPts val="0"/>
              </a:spcBef>
              <a:buNone/>
              <a:defRPr sz="5996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5996" dirty="0">
                <a:solidFill>
                  <a:schemeClr val="bg1"/>
                </a:solidFill>
              </a:rPr>
              <a:t>Presentation tit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40690" y="3954780"/>
            <a:ext cx="9363061" cy="1551194"/>
          </a:xfrm>
          <a:prstGeom prst="rect">
            <a:avLst/>
          </a:prstGeom>
          <a:noFill/>
        </p:spPr>
        <p:txBody>
          <a:bodyPr wrap="square" lIns="146304" tIns="109728" rIns="146304" bIns="109728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peaker Name</a:t>
            </a:r>
          </a:p>
          <a:p>
            <a:r>
              <a:rPr lang="en-US" dirty="0">
                <a:solidFill>
                  <a:schemeClr val="bg1"/>
                </a:solidFill>
              </a:rPr>
              <a:t>Title</a:t>
            </a:r>
          </a:p>
          <a:p>
            <a:r>
              <a:rPr lang="en-US" dirty="0">
                <a:solidFill>
                  <a:schemeClr val="bg1"/>
                </a:solidFill>
              </a:rPr>
              <a:t>Other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>
            <a:off x="440692" y="2114550"/>
            <a:ext cx="9363062" cy="1840230"/>
          </a:xfrm>
          <a:prstGeom prst="rect">
            <a:avLst/>
          </a:prstGeom>
        </p:spPr>
        <p:txBody>
          <a:bodyPr lIns="146304" tIns="9144" rIns="146304" bIns="9144" anchor="b" anchorCtr="0"/>
          <a:lstStyle>
            <a:lvl1pPr marL="0" indent="0">
              <a:spcBef>
                <a:spcPts val="0"/>
              </a:spcBef>
              <a:buNone/>
              <a:defRPr sz="5996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5996" dirty="0">
                <a:solidFill>
                  <a:schemeClr val="bg1"/>
                </a:solidFill>
              </a:rPr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21000"/>
          </a:blip>
          <a:srcRect t="43378" r="43213" b="10783"/>
          <a:stretch/>
        </p:blipFill>
        <p:spPr>
          <a:xfrm>
            <a:off x="3017837" y="489"/>
            <a:ext cx="9174163" cy="6857514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1" y="6121190"/>
            <a:ext cx="12192000" cy="754062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101600" dist="12700" dir="16200000" rotWithShape="0">
              <a:prstClr val="black">
                <a:alpha val="3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/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invGray">
          <a:xfrm>
            <a:off x="336797" y="6371704"/>
            <a:ext cx="1045829" cy="228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662379" y="329402"/>
            <a:ext cx="3181771" cy="509899"/>
          </a:xfrm>
          <a:prstGeom prst="rect">
            <a:avLst/>
          </a:prstGeom>
        </p:spPr>
      </p:pic>
    </p:spTree>
    <p:extLst/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8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8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8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40690" y="2996309"/>
            <a:ext cx="9363061" cy="1551194"/>
          </a:xfrm>
          <a:prstGeom prst="rect">
            <a:avLst/>
          </a:prstGeom>
          <a:noFill/>
        </p:spPr>
        <p:txBody>
          <a:bodyPr wrap="square" lIns="146304" tIns="109728" rIns="146304" bIns="109728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peaker Name</a:t>
            </a:r>
          </a:p>
          <a:p>
            <a:r>
              <a:rPr lang="en-US" dirty="0">
                <a:solidFill>
                  <a:schemeClr val="bg1"/>
                </a:solidFill>
              </a:rPr>
              <a:t>Title</a:t>
            </a:r>
          </a:p>
          <a:p>
            <a:r>
              <a:rPr lang="en-US" dirty="0">
                <a:solidFill>
                  <a:schemeClr val="bg1"/>
                </a:solidFill>
              </a:rPr>
              <a:t>Other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>
            <a:off x="440692" y="1156079"/>
            <a:ext cx="9363062" cy="1840230"/>
          </a:xfrm>
          <a:prstGeom prst="rect">
            <a:avLst/>
          </a:prstGeom>
        </p:spPr>
        <p:txBody>
          <a:bodyPr lIns="146304" tIns="9144" rIns="146304" bIns="9144" anchor="b" anchorCtr="0"/>
          <a:lstStyle>
            <a:lvl1pPr marL="0" indent="0">
              <a:spcBef>
                <a:spcPts val="0"/>
              </a:spcBef>
              <a:buNone/>
              <a:defRPr sz="5996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5996" dirty="0">
                <a:solidFill>
                  <a:schemeClr val="bg1"/>
                </a:solidFill>
              </a:rPr>
              <a:t>Presentation tit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1" y="5703096"/>
            <a:ext cx="12192000" cy="11549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" name="MS logo whit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36537" y="6131360"/>
            <a:ext cx="1371600" cy="29348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>
            <a:alphaModFix amt="10000"/>
          </a:blip>
          <a:srcRect t="43378" r="43213" b="10783"/>
          <a:stretch/>
        </p:blipFill>
        <p:spPr>
          <a:xfrm>
            <a:off x="3017837" y="489"/>
            <a:ext cx="9174163" cy="6857514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843542" y="5994089"/>
            <a:ext cx="3181771" cy="509899"/>
          </a:xfrm>
          <a:prstGeom prst="rect">
            <a:avLst/>
          </a:prstGeom>
        </p:spPr>
      </p:pic>
    </p:spTree>
    <p:extLst/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40690" y="2996309"/>
            <a:ext cx="9363061" cy="1551194"/>
          </a:xfrm>
          <a:prstGeom prst="rect">
            <a:avLst/>
          </a:prstGeom>
          <a:noFill/>
        </p:spPr>
        <p:txBody>
          <a:bodyPr wrap="square" lIns="146304" tIns="109728" rIns="146304" bIns="109728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peaker Name</a:t>
            </a:r>
          </a:p>
          <a:p>
            <a:r>
              <a:rPr lang="en-US" dirty="0">
                <a:solidFill>
                  <a:schemeClr val="bg1"/>
                </a:solidFill>
              </a:rPr>
              <a:t>Title</a:t>
            </a:r>
          </a:p>
          <a:p>
            <a:r>
              <a:rPr lang="en-US" dirty="0">
                <a:solidFill>
                  <a:schemeClr val="bg1"/>
                </a:solidFill>
              </a:rPr>
              <a:t>Other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>
            <a:off x="440692" y="1156079"/>
            <a:ext cx="9363062" cy="1840230"/>
          </a:xfrm>
          <a:prstGeom prst="rect">
            <a:avLst/>
          </a:prstGeom>
        </p:spPr>
        <p:txBody>
          <a:bodyPr lIns="146304" tIns="9144" rIns="146304" bIns="9144" anchor="b" anchorCtr="0"/>
          <a:lstStyle>
            <a:lvl1pPr marL="0" indent="0">
              <a:spcBef>
                <a:spcPts val="0"/>
              </a:spcBef>
              <a:buNone/>
              <a:defRPr sz="5996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5996" dirty="0">
                <a:solidFill>
                  <a:schemeClr val="bg1"/>
                </a:solidFill>
              </a:rPr>
              <a:t>Presentation tit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1" y="5703096"/>
            <a:ext cx="12192000" cy="11549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" name="MS logo whit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36537" y="6131360"/>
            <a:ext cx="1371600" cy="29348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>
            <a:alphaModFix amt="10000"/>
          </a:blip>
          <a:srcRect t="43378" r="43213" b="10783"/>
          <a:stretch/>
        </p:blipFill>
        <p:spPr>
          <a:xfrm>
            <a:off x="3017837" y="489"/>
            <a:ext cx="9174163" cy="685751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62379" y="329402"/>
            <a:ext cx="3181771" cy="509899"/>
          </a:xfrm>
          <a:prstGeom prst="rect">
            <a:avLst/>
          </a:prstGeom>
        </p:spPr>
      </p:pic>
    </p:spTree>
    <p:extLst/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1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" y="6121190"/>
            <a:ext cx="12192000" cy="754062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101600" dist="12700" dir="16200000" rotWithShape="0">
              <a:prstClr val="black">
                <a:alpha val="3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/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invGray">
          <a:xfrm>
            <a:off x="317979" y="6371704"/>
            <a:ext cx="1045829" cy="228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5707" y="392900"/>
            <a:ext cx="3181771" cy="509899"/>
          </a:xfrm>
          <a:prstGeom prst="rect">
            <a:avLst/>
          </a:prstGeom>
        </p:spPr>
      </p:pic>
      <p:sp>
        <p:nvSpPr>
          <p:cNvPr id="1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40690" y="3954782"/>
            <a:ext cx="9363061" cy="664797"/>
          </a:xfrm>
          <a:prstGeom prst="rect">
            <a:avLst/>
          </a:prstGeom>
          <a:noFill/>
        </p:spPr>
        <p:txBody>
          <a:bodyPr wrap="square" lIns="146304" tIns="109728" rIns="146304" bIns="109728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Name</a:t>
            </a:r>
          </a:p>
        </p:txBody>
      </p:sp>
      <p:sp>
        <p:nvSpPr>
          <p:cNvPr id="16" name="Title 12"/>
          <p:cNvSpPr>
            <a:spLocks noGrp="1"/>
          </p:cNvSpPr>
          <p:nvPr>
            <p:ph type="title" hasCustomPrompt="1"/>
          </p:nvPr>
        </p:nvSpPr>
        <p:spPr>
          <a:xfrm>
            <a:off x="440692" y="2114550"/>
            <a:ext cx="9363062" cy="1840230"/>
          </a:xfrm>
          <a:prstGeom prst="rect">
            <a:avLst/>
          </a:prstGeom>
        </p:spPr>
        <p:txBody>
          <a:bodyPr lIns="146304" tIns="9144" rIns="146304" bIns="9144" anchor="b" anchorCtr="0"/>
          <a:lstStyle>
            <a:lvl1pPr marL="0" indent="0">
              <a:spcBef>
                <a:spcPts val="0"/>
              </a:spcBef>
              <a:buNone/>
              <a:defRPr sz="5996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5996" dirty="0">
                <a:solidFill>
                  <a:schemeClr val="bg1"/>
                </a:solidFill>
              </a:rPr>
              <a:t>Demo</a:t>
            </a:r>
          </a:p>
        </p:txBody>
      </p:sp>
    </p:spTree>
    <p:extLst/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8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8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8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2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3" y="487"/>
            <a:ext cx="12191999" cy="66453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25400" dist="12700" dir="5400000" algn="t" rotWithShape="0">
              <a:prstClr val="black">
                <a:alpha val="18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559" y="215806"/>
            <a:ext cx="1187693" cy="25468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9319" y="6227612"/>
            <a:ext cx="3067892" cy="360385"/>
          </a:xfrm>
          <a:prstGeom prst="rect">
            <a:avLst/>
          </a:prstGeom>
        </p:spPr>
      </p:pic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40690" y="3954782"/>
            <a:ext cx="9363061" cy="664797"/>
          </a:xfrm>
          <a:prstGeom prst="rect">
            <a:avLst/>
          </a:prstGeom>
          <a:noFill/>
        </p:spPr>
        <p:txBody>
          <a:bodyPr wrap="square" lIns="146304" tIns="109728" rIns="146304" bIns="109728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Name</a:t>
            </a:r>
          </a:p>
        </p:txBody>
      </p:sp>
      <p:sp>
        <p:nvSpPr>
          <p:cNvPr id="15" name="Title 12"/>
          <p:cNvSpPr>
            <a:spLocks noGrp="1"/>
          </p:cNvSpPr>
          <p:nvPr>
            <p:ph type="title" hasCustomPrompt="1"/>
          </p:nvPr>
        </p:nvSpPr>
        <p:spPr>
          <a:xfrm>
            <a:off x="440692" y="2114550"/>
            <a:ext cx="9363062" cy="1840230"/>
          </a:xfrm>
          <a:prstGeom prst="rect">
            <a:avLst/>
          </a:prstGeom>
        </p:spPr>
        <p:txBody>
          <a:bodyPr lIns="146304" tIns="9144" rIns="146304" bIns="9144" anchor="b" anchorCtr="0"/>
          <a:lstStyle>
            <a:lvl1pPr marL="0" indent="0">
              <a:spcBef>
                <a:spcPts val="0"/>
              </a:spcBef>
              <a:buNone/>
              <a:defRPr sz="5996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5996" dirty="0">
                <a:solidFill>
                  <a:schemeClr val="bg1"/>
                </a:solidFill>
              </a:rPr>
              <a:t>Demo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3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40690" y="3798566"/>
            <a:ext cx="9363061" cy="664797"/>
          </a:xfrm>
          <a:prstGeom prst="rect">
            <a:avLst/>
          </a:prstGeom>
          <a:noFill/>
        </p:spPr>
        <p:txBody>
          <a:bodyPr wrap="square" lIns="146304" tIns="109728" rIns="146304" bIns="109728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Other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>
            <a:off x="440692" y="1958334"/>
            <a:ext cx="9363062" cy="1840230"/>
          </a:xfrm>
          <a:prstGeom prst="rect">
            <a:avLst/>
          </a:prstGeom>
        </p:spPr>
        <p:txBody>
          <a:bodyPr lIns="146304" tIns="9144" rIns="146304" bIns="9144" anchor="b" anchorCtr="0"/>
          <a:lstStyle>
            <a:lvl1pPr marL="0" indent="0">
              <a:spcBef>
                <a:spcPts val="0"/>
              </a:spcBef>
              <a:buNone/>
              <a:defRPr sz="5996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5996" dirty="0">
                <a:solidFill>
                  <a:schemeClr val="bg1"/>
                </a:solidFill>
              </a:rPr>
              <a:t>Section tit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>
            <a:alphaModFix amt="10000"/>
          </a:blip>
          <a:srcRect t="43378" r="43213" b="10783"/>
          <a:stretch/>
        </p:blipFill>
        <p:spPr>
          <a:xfrm>
            <a:off x="3017837" y="489"/>
            <a:ext cx="9174163" cy="685751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62379" y="329402"/>
            <a:ext cx="3181771" cy="509899"/>
          </a:xfrm>
          <a:prstGeom prst="rect">
            <a:avLst/>
          </a:prstGeom>
        </p:spPr>
      </p:pic>
    </p:spTree>
    <p:extLst/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5278C-2795-4D0E-AB2D-5ED126775F60}" type="datetimeFigureOut">
              <a:rPr lang="en-IN" smtClean="0"/>
              <a:t>11/09/17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0162888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4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40690" y="3798566"/>
            <a:ext cx="9363061" cy="664797"/>
          </a:xfrm>
          <a:prstGeom prst="rect">
            <a:avLst/>
          </a:prstGeom>
          <a:noFill/>
        </p:spPr>
        <p:txBody>
          <a:bodyPr wrap="square" lIns="146304" tIns="109728" rIns="146304" bIns="109728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Other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>
            <a:off x="440692" y="1958334"/>
            <a:ext cx="9363062" cy="1840230"/>
          </a:xfrm>
          <a:prstGeom prst="rect">
            <a:avLst/>
          </a:prstGeom>
        </p:spPr>
        <p:txBody>
          <a:bodyPr lIns="146304" tIns="9144" rIns="146304" bIns="9144" anchor="b" anchorCtr="0"/>
          <a:lstStyle>
            <a:lvl1pPr marL="0" indent="0">
              <a:spcBef>
                <a:spcPts val="0"/>
              </a:spcBef>
              <a:buNone/>
              <a:defRPr sz="5996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5996" dirty="0">
                <a:solidFill>
                  <a:schemeClr val="bg1"/>
                </a:solidFill>
              </a:rPr>
              <a:t>Section tit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>
            <a:alphaModFix amt="10000"/>
          </a:blip>
          <a:srcRect t="43378" r="43213" b="10783"/>
          <a:stretch/>
        </p:blipFill>
        <p:spPr>
          <a:xfrm>
            <a:off x="3017837" y="489"/>
            <a:ext cx="9174163" cy="6857514"/>
          </a:xfrm>
          <a:prstGeom prst="rect">
            <a:avLst/>
          </a:prstGeom>
        </p:spPr>
      </p:pic>
    </p:spTree>
    <p:extLst/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Connect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MS logo whit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88440" y="6131360"/>
            <a:ext cx="1371600" cy="293483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1091" y="2958662"/>
            <a:ext cx="5869818" cy="940676"/>
          </a:xfrm>
          <a:prstGeom prst="rect">
            <a:avLst/>
          </a:prstGeom>
        </p:spPr>
      </p:pic>
    </p:spTree>
    <p:extLst/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Microso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9802" y="2939756"/>
            <a:ext cx="4572396" cy="978493"/>
          </a:xfrm>
          <a:prstGeom prst="rect">
            <a:avLst/>
          </a:prstGeom>
        </p:spPr>
      </p:pic>
    </p:spTree>
    <p:extLst/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accel="36000" decel="6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1186358"/>
            <a:ext cx="8067822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50/50 SOLID BKG 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56668" y="1635590"/>
            <a:ext cx="5378548" cy="89966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556663" y="4382454"/>
            <a:ext cx="5378549" cy="896552"/>
          </a:xfrm>
        </p:spPr>
        <p:txBody>
          <a:bodyPr anchor="b">
            <a:noAutofit/>
          </a:bodyPr>
          <a:lstStyle>
            <a:lvl1pPr marL="0" indent="0" algn="l" defTabSz="913010" rtl="0" eaLnBrk="1" latinLnBrk="0" hangingPunct="1">
              <a:lnSpc>
                <a:spcPct val="90000"/>
              </a:lnSpc>
              <a:spcAft>
                <a:spcPts val="1173"/>
              </a:spcAft>
              <a:buNone/>
              <a:tabLst>
                <a:tab pos="108774" algn="l"/>
              </a:tabLst>
              <a:defRPr lang="en-US" sz="2350" kern="1200" spc="-1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Click="0" advTm="7000">
        <p:fade/>
      </p:transition>
    </mc:Choice>
    <mc:Fallback xmlns="">
      <p:transition spd="med" advClick="0" advTm="7000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-811" y="1"/>
            <a:ext cx="12192811" cy="6858001"/>
            <a:chOff x="-1675" y="-1"/>
            <a:chExt cx="12193676" cy="6858001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flipH="1">
              <a:off x="-1675" y="-1"/>
              <a:ext cx="12193675" cy="6858001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/>
          </p:nvSpPr>
          <p:spPr bwMode="auto">
            <a:xfrm>
              <a:off x="1" y="0"/>
              <a:ext cx="12192000" cy="6858000"/>
            </a:xfrm>
            <a:prstGeom prst="rect">
              <a:avLst/>
            </a:prstGeom>
            <a:solidFill>
              <a:schemeClr val="bg2">
                <a:alpha val="80000"/>
              </a:schemeClr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75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_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866" y="1"/>
            <a:ext cx="12191945" cy="6858001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auto">
          <a:xfrm>
            <a:off x="-811" y="1"/>
            <a:ext cx="12192811" cy="6858000"/>
          </a:xfrm>
          <a:prstGeom prst="rect">
            <a:avLst/>
          </a:prstGeom>
          <a:solidFill>
            <a:schemeClr val="accent1">
              <a:alpha val="75000"/>
            </a:schemeClr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sz="1800" kern="0">
              <a:solidFill>
                <a:srgbClr val="00205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5278C-2795-4D0E-AB2D-5ED126775F60}" type="datetimeFigureOut">
              <a:rPr lang="en-IN" smtClean="0"/>
              <a:t>11/09/17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3611446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2" y="1364344"/>
            <a:ext cx="12191999" cy="5509556"/>
          </a:xfrm>
          <a:prstGeom prst="rect">
            <a:avLst/>
          </a:prstGeom>
          <a:solidFill>
            <a:srgbClr val="E5F1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5" y="358849"/>
            <a:ext cx="11384209" cy="867874"/>
          </a:xfrm>
        </p:spPr>
        <p:txBody>
          <a:bodyPr anchor="ctr">
            <a:normAutofit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2" y="1428467"/>
            <a:ext cx="12191999" cy="5445432"/>
          </a:xfrm>
          <a:prstGeom prst="rect">
            <a:avLst/>
          </a:prstGeom>
          <a:solidFill>
            <a:srgbClr val="E5F1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110400"/>
            <a:ext cx="3048001" cy="355158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Ins="0" rtlCol="0" anchor="ctr">
            <a:noAutofit/>
          </a:bodyPr>
          <a:lstStyle>
            <a:lvl1pPr>
              <a:defRPr kumimoji="0" lang="en-US" sz="1400" b="0" i="0" u="none" strike="noStrike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Edit Master text styles</a:t>
            </a:r>
          </a:p>
        </p:txBody>
      </p:sp>
    </p:spTree>
    <p:extLst/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gra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/>
          <p:cNvSpPr/>
          <p:nvPr userDrawn="1"/>
        </p:nvSpPr>
        <p:spPr>
          <a:xfrm>
            <a:off x="2" y="1428467"/>
            <a:ext cx="12191999" cy="5429535"/>
          </a:xfrm>
          <a:custGeom>
            <a:avLst/>
            <a:gdLst>
              <a:gd name="connsiteX0" fmla="*/ 0 w 12191999"/>
              <a:gd name="connsiteY0" fmla="*/ 0 h 5316786"/>
              <a:gd name="connsiteX1" fmla="*/ 12191999 w 12191999"/>
              <a:gd name="connsiteY1" fmla="*/ 0 h 5316786"/>
              <a:gd name="connsiteX2" fmla="*/ 12191999 w 12191999"/>
              <a:gd name="connsiteY2" fmla="*/ 119540 h 5316786"/>
              <a:gd name="connsiteX3" fmla="*/ 7315199 w 12191999"/>
              <a:gd name="connsiteY3" fmla="*/ 119540 h 5316786"/>
              <a:gd name="connsiteX4" fmla="*/ 7315199 w 12191999"/>
              <a:gd name="connsiteY4" fmla="*/ 5315056 h 5316786"/>
              <a:gd name="connsiteX5" fmla="*/ 12191999 w 12191999"/>
              <a:gd name="connsiteY5" fmla="*/ 5315056 h 5316786"/>
              <a:gd name="connsiteX6" fmla="*/ 12191999 w 12191999"/>
              <a:gd name="connsiteY6" fmla="*/ 5316786 h 5316786"/>
              <a:gd name="connsiteX7" fmla="*/ 0 w 12191999"/>
              <a:gd name="connsiteY7" fmla="*/ 5316786 h 5316786"/>
              <a:gd name="connsiteX0" fmla="*/ 0 w 12191999"/>
              <a:gd name="connsiteY0" fmla="*/ 0 h 5316786"/>
              <a:gd name="connsiteX1" fmla="*/ 12191999 w 12191999"/>
              <a:gd name="connsiteY1" fmla="*/ 0 h 5316786"/>
              <a:gd name="connsiteX2" fmla="*/ 12191999 w 12191999"/>
              <a:gd name="connsiteY2" fmla="*/ 119540 h 5316786"/>
              <a:gd name="connsiteX3" fmla="*/ 7315199 w 12191999"/>
              <a:gd name="connsiteY3" fmla="*/ 119540 h 5316786"/>
              <a:gd name="connsiteX4" fmla="*/ 7315199 w 12191999"/>
              <a:gd name="connsiteY4" fmla="*/ 5315056 h 5316786"/>
              <a:gd name="connsiteX5" fmla="*/ 12191999 w 12191999"/>
              <a:gd name="connsiteY5" fmla="*/ 5315056 h 5316786"/>
              <a:gd name="connsiteX6" fmla="*/ 0 w 12191999"/>
              <a:gd name="connsiteY6" fmla="*/ 5316786 h 5316786"/>
              <a:gd name="connsiteX7" fmla="*/ 0 w 12191999"/>
              <a:gd name="connsiteY7" fmla="*/ 0 h 5316786"/>
              <a:gd name="connsiteX0" fmla="*/ 0 w 12191999"/>
              <a:gd name="connsiteY0" fmla="*/ 0 h 5316786"/>
              <a:gd name="connsiteX1" fmla="*/ 12191999 w 12191999"/>
              <a:gd name="connsiteY1" fmla="*/ 0 h 5316786"/>
              <a:gd name="connsiteX2" fmla="*/ 12191999 w 12191999"/>
              <a:gd name="connsiteY2" fmla="*/ 119540 h 5316786"/>
              <a:gd name="connsiteX3" fmla="*/ 7315199 w 12191999"/>
              <a:gd name="connsiteY3" fmla="*/ 119540 h 5316786"/>
              <a:gd name="connsiteX4" fmla="*/ 7315199 w 12191999"/>
              <a:gd name="connsiteY4" fmla="*/ 5315056 h 5316786"/>
              <a:gd name="connsiteX5" fmla="*/ 0 w 12191999"/>
              <a:gd name="connsiteY5" fmla="*/ 5316786 h 5316786"/>
              <a:gd name="connsiteX6" fmla="*/ 0 w 12191999"/>
              <a:gd name="connsiteY6" fmla="*/ 0 h 5316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5316786">
                <a:moveTo>
                  <a:pt x="0" y="0"/>
                </a:moveTo>
                <a:lnTo>
                  <a:pt x="12191999" y="0"/>
                </a:lnTo>
                <a:lnTo>
                  <a:pt x="12191999" y="119540"/>
                </a:lnTo>
                <a:lnTo>
                  <a:pt x="7315199" y="119540"/>
                </a:lnTo>
                <a:lnTo>
                  <a:pt x="7315199" y="5315056"/>
                </a:lnTo>
                <a:lnTo>
                  <a:pt x="0" y="5316786"/>
                </a:lnTo>
                <a:lnTo>
                  <a:pt x="0" y="0"/>
                </a:lnTo>
                <a:close/>
              </a:path>
            </a:pathLst>
          </a:custGeom>
          <a:solidFill>
            <a:srgbClr val="E5F2F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896214">
              <a:defRPr/>
            </a:pPr>
            <a:endParaRPr lang="en-US" sz="1765" kern="0">
              <a:solidFill>
                <a:prstClr val="white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692555" y="1889196"/>
            <a:ext cx="3977545" cy="4576917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2000">
                <a:solidFill>
                  <a:schemeClr val="tx2"/>
                </a:solidFill>
                <a:latin typeface="+mj-lt"/>
              </a:defRPr>
            </a:lvl1pPr>
            <a:lvl2pPr>
              <a:buClr>
                <a:schemeClr val="accent1"/>
              </a:buClr>
              <a:defRPr sz="1800">
                <a:solidFill>
                  <a:schemeClr val="tx2"/>
                </a:solidFill>
                <a:latin typeface="+mj-lt"/>
              </a:defRPr>
            </a:lvl2pPr>
            <a:lvl3pPr>
              <a:buClr>
                <a:schemeClr val="accent1"/>
              </a:buClr>
              <a:defRPr sz="1600">
                <a:solidFill>
                  <a:schemeClr val="tx2"/>
                </a:solidFill>
                <a:latin typeface="+mj-lt"/>
              </a:defRPr>
            </a:lvl3pPr>
            <a:lvl4pPr>
              <a:buClr>
                <a:schemeClr val="accent1"/>
              </a:buClr>
              <a:defRPr sz="1400">
                <a:solidFill>
                  <a:schemeClr val="tx2"/>
                </a:solidFill>
                <a:latin typeface="+mj-lt"/>
              </a:defRPr>
            </a:lvl4pPr>
            <a:lvl5pPr>
              <a:buClr>
                <a:schemeClr val="accent1"/>
              </a:buClr>
              <a:defRPr sz="1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465" y="358848"/>
            <a:ext cx="11384209" cy="892552"/>
          </a:xfrm>
        </p:spPr>
        <p:txBody>
          <a:bodyPr anchor="ctr">
            <a:normAutofit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110400"/>
            <a:ext cx="3048001" cy="355158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Ins="0" rtlCol="0" anchor="ctr">
            <a:noAutofit/>
          </a:bodyPr>
          <a:lstStyle>
            <a:lvl1pPr>
              <a:defRPr kumimoji="0" lang="en-US" sz="1400" b="0" i="0" u="none" strike="noStrike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Edit Master text styles</a:t>
            </a:r>
          </a:p>
        </p:txBody>
      </p:sp>
    </p:spTree>
    <p:extLst/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225"/>
            <a:fld id="{F770BDB5-9302-4A72-AFF3-5588E374E395}" type="datetimeFigureOut">
              <a:rPr lang="en-US" smtClean="0">
                <a:solidFill>
                  <a:srgbClr val="505050"/>
                </a:solidFill>
              </a:rPr>
              <a:pPr defTabSz="914225"/>
              <a:t>9/11/17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225"/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225"/>
            <a:fld id="{358B1C62-6523-40EB-A5E7-63AFE8AC4F95}" type="slidenum">
              <a:rPr lang="en-US" smtClean="0">
                <a:solidFill>
                  <a:srgbClr val="505050"/>
                </a:solidFill>
              </a:rPr>
              <a:pPr defTabSz="914225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/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/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- image ligh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866" y="1"/>
            <a:ext cx="12191945" cy="6858001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auto">
          <a:xfrm>
            <a:off x="-811" y="1"/>
            <a:ext cx="12192811" cy="6858000"/>
          </a:xfrm>
          <a:prstGeom prst="rect">
            <a:avLst/>
          </a:prstGeom>
          <a:solidFill>
            <a:schemeClr val="accent1">
              <a:alpha val="75000"/>
            </a:schemeClr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sz="1800" kern="0">
              <a:solidFill>
                <a:srgbClr val="002050"/>
              </a:solidFill>
            </a:endParaRP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866" y="1"/>
            <a:ext cx="12191945" cy="6858001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auto">
          <a:xfrm>
            <a:off x="1" y="0"/>
            <a:ext cx="12192811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5278C-2795-4D0E-AB2D-5ED126775F60}" type="datetimeFigureOut">
              <a:rPr lang="en-IN" smtClean="0"/>
              <a:t>11/09/17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5300333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S end car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1" y="3145041"/>
            <a:ext cx="3288506" cy="704445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gra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" y="1541216"/>
            <a:ext cx="12191999" cy="5316786"/>
          </a:xfrm>
          <a:prstGeom prst="rect">
            <a:avLst/>
          </a:prstGeom>
          <a:solidFill>
            <a:srgbClr val="E5F2F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96214">
              <a:defRPr/>
            </a:pPr>
            <a:endParaRPr lang="en-US" sz="1765" kern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315200" y="1660755"/>
            <a:ext cx="4876800" cy="519551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dist="38100" dir="10800000" algn="r" rotWithShape="0">
              <a:schemeClr val="bg1">
                <a:lumMod val="75000"/>
                <a:alpha val="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49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692555" y="1927296"/>
            <a:ext cx="3977545" cy="3137932"/>
          </a:xfrm>
        </p:spPr>
        <p:txBody>
          <a:bodyPr>
            <a:noAutofit/>
          </a:bodyPr>
          <a:lstStyle>
            <a:lvl1pPr>
              <a:defRPr sz="1961">
                <a:latin typeface="+mj-lt"/>
              </a:defRPr>
            </a:lvl1pPr>
            <a:lvl2pPr>
              <a:defRPr sz="1765">
                <a:latin typeface="+mj-lt"/>
              </a:defRPr>
            </a:lvl2pPr>
            <a:lvl3pPr>
              <a:defRPr sz="1567">
                <a:latin typeface="+mj-lt"/>
              </a:defRPr>
            </a:lvl3pPr>
            <a:lvl4pPr>
              <a:defRPr sz="1371">
                <a:latin typeface="+mj-lt"/>
              </a:defRPr>
            </a:lvl4pPr>
            <a:lvl5pPr>
              <a:defRPr sz="1371"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sz="1765">
                <a:solidFill>
                  <a:srgbClr val="FFFFFF"/>
                </a:solidFill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825" t="16703" r="15896" b="18860"/>
          <a:stretch/>
        </p:blipFill>
        <p:spPr>
          <a:xfrm>
            <a:off x="2536677" y="-9963"/>
            <a:ext cx="9665288" cy="6867963"/>
          </a:xfrm>
          <a:prstGeom prst="rect">
            <a:avLst/>
          </a:prstGeom>
        </p:spPr>
      </p:pic>
      <p:sp>
        <p:nvSpPr>
          <p:cNvPr id="4" name="Rectangle 1"/>
          <p:cNvSpPr/>
          <p:nvPr userDrawn="1"/>
        </p:nvSpPr>
        <p:spPr>
          <a:xfrm rot="720628">
            <a:off x="-745556" y="-532927"/>
            <a:ext cx="4236060" cy="7635240"/>
          </a:xfrm>
          <a:custGeom>
            <a:avLst/>
            <a:gdLst>
              <a:gd name="connsiteX0" fmla="*/ 0 w 6138140"/>
              <a:gd name="connsiteY0" fmla="*/ 0 h 6138140"/>
              <a:gd name="connsiteX1" fmla="*/ 6138140 w 6138140"/>
              <a:gd name="connsiteY1" fmla="*/ 0 h 6138140"/>
              <a:gd name="connsiteX2" fmla="*/ 6138140 w 6138140"/>
              <a:gd name="connsiteY2" fmla="*/ 6138140 h 6138140"/>
              <a:gd name="connsiteX3" fmla="*/ 0 w 6138140"/>
              <a:gd name="connsiteY3" fmla="*/ 6138140 h 6138140"/>
              <a:gd name="connsiteX4" fmla="*/ 0 w 6138140"/>
              <a:gd name="connsiteY4" fmla="*/ 0 h 6138140"/>
              <a:gd name="connsiteX0" fmla="*/ 3915 w 6138140"/>
              <a:gd name="connsiteY0" fmla="*/ 1261595 h 6138140"/>
              <a:gd name="connsiteX1" fmla="*/ 6138140 w 6138140"/>
              <a:gd name="connsiteY1" fmla="*/ 0 h 6138140"/>
              <a:gd name="connsiteX2" fmla="*/ 6138140 w 6138140"/>
              <a:gd name="connsiteY2" fmla="*/ 6138140 h 6138140"/>
              <a:gd name="connsiteX3" fmla="*/ 0 w 6138140"/>
              <a:gd name="connsiteY3" fmla="*/ 6138140 h 6138140"/>
              <a:gd name="connsiteX4" fmla="*/ 3915 w 6138140"/>
              <a:gd name="connsiteY4" fmla="*/ 1261595 h 6138140"/>
              <a:gd name="connsiteX0" fmla="*/ 1712 w 6135937"/>
              <a:gd name="connsiteY0" fmla="*/ 1261595 h 7448191"/>
              <a:gd name="connsiteX1" fmla="*/ 6135937 w 6135937"/>
              <a:gd name="connsiteY1" fmla="*/ 0 h 7448191"/>
              <a:gd name="connsiteX2" fmla="*/ 6135937 w 6135937"/>
              <a:gd name="connsiteY2" fmla="*/ 6138140 h 7448191"/>
              <a:gd name="connsiteX3" fmla="*/ 0 w 6135937"/>
              <a:gd name="connsiteY3" fmla="*/ 7448191 h 7448191"/>
              <a:gd name="connsiteX4" fmla="*/ 1712 w 6135937"/>
              <a:gd name="connsiteY4" fmla="*/ 1261595 h 7448191"/>
              <a:gd name="connsiteX0" fmla="*/ 1648870 w 6135937"/>
              <a:gd name="connsiteY0" fmla="*/ 923190 h 7448191"/>
              <a:gd name="connsiteX1" fmla="*/ 6135937 w 6135937"/>
              <a:gd name="connsiteY1" fmla="*/ 0 h 7448191"/>
              <a:gd name="connsiteX2" fmla="*/ 6135937 w 6135937"/>
              <a:gd name="connsiteY2" fmla="*/ 6138140 h 7448191"/>
              <a:gd name="connsiteX3" fmla="*/ 0 w 6135937"/>
              <a:gd name="connsiteY3" fmla="*/ 7448191 h 7448191"/>
              <a:gd name="connsiteX4" fmla="*/ 1648870 w 6135937"/>
              <a:gd name="connsiteY4" fmla="*/ 923190 h 7448191"/>
              <a:gd name="connsiteX0" fmla="*/ 1 w 4487068"/>
              <a:gd name="connsiteY0" fmla="*/ 923190 h 6874631"/>
              <a:gd name="connsiteX1" fmla="*/ 4487068 w 4487068"/>
              <a:gd name="connsiteY1" fmla="*/ 0 h 6874631"/>
              <a:gd name="connsiteX2" fmla="*/ 4487068 w 4487068"/>
              <a:gd name="connsiteY2" fmla="*/ 6138140 h 6874631"/>
              <a:gd name="connsiteX3" fmla="*/ 934069 w 4487068"/>
              <a:gd name="connsiteY3" fmla="*/ 6874631 h 6874631"/>
              <a:gd name="connsiteX4" fmla="*/ 1 w 4487068"/>
              <a:gd name="connsiteY4" fmla="*/ 923190 h 6874631"/>
              <a:gd name="connsiteX0" fmla="*/ 1 w 4487068"/>
              <a:gd name="connsiteY0" fmla="*/ 923190 h 6874694"/>
              <a:gd name="connsiteX1" fmla="*/ 4487068 w 4487068"/>
              <a:gd name="connsiteY1" fmla="*/ 0 h 6874694"/>
              <a:gd name="connsiteX2" fmla="*/ 4487068 w 4487068"/>
              <a:gd name="connsiteY2" fmla="*/ 6138140 h 6874694"/>
              <a:gd name="connsiteX3" fmla="*/ 934069 w 4487068"/>
              <a:gd name="connsiteY3" fmla="*/ 6874631 h 6874694"/>
              <a:gd name="connsiteX4" fmla="*/ 1 w 4487068"/>
              <a:gd name="connsiteY4" fmla="*/ 923190 h 6874694"/>
              <a:gd name="connsiteX0" fmla="*/ 1 w 4487068"/>
              <a:gd name="connsiteY0" fmla="*/ 923190 h 6874672"/>
              <a:gd name="connsiteX1" fmla="*/ 4487068 w 4487068"/>
              <a:gd name="connsiteY1" fmla="*/ 0 h 6874672"/>
              <a:gd name="connsiteX2" fmla="*/ 4487068 w 4487068"/>
              <a:gd name="connsiteY2" fmla="*/ 6138140 h 6874672"/>
              <a:gd name="connsiteX3" fmla="*/ 934069 w 4487068"/>
              <a:gd name="connsiteY3" fmla="*/ 6874631 h 6874672"/>
              <a:gd name="connsiteX4" fmla="*/ 1 w 4487068"/>
              <a:gd name="connsiteY4" fmla="*/ 923190 h 6874672"/>
              <a:gd name="connsiteX0" fmla="*/ 0 w 4740100"/>
              <a:gd name="connsiteY0" fmla="*/ 977022 h 6874673"/>
              <a:gd name="connsiteX1" fmla="*/ 4740100 w 4740100"/>
              <a:gd name="connsiteY1" fmla="*/ 0 h 6874673"/>
              <a:gd name="connsiteX2" fmla="*/ 4740100 w 4740100"/>
              <a:gd name="connsiteY2" fmla="*/ 6138140 h 6874673"/>
              <a:gd name="connsiteX3" fmla="*/ 1187101 w 4740100"/>
              <a:gd name="connsiteY3" fmla="*/ 6874631 h 6874673"/>
              <a:gd name="connsiteX4" fmla="*/ 0 w 4740100"/>
              <a:gd name="connsiteY4" fmla="*/ 977022 h 6874673"/>
              <a:gd name="connsiteX0" fmla="*/ 0 w 4740100"/>
              <a:gd name="connsiteY0" fmla="*/ 977022 h 6915788"/>
              <a:gd name="connsiteX1" fmla="*/ 4740100 w 4740100"/>
              <a:gd name="connsiteY1" fmla="*/ 0 h 6915788"/>
              <a:gd name="connsiteX2" fmla="*/ 4740100 w 4740100"/>
              <a:gd name="connsiteY2" fmla="*/ 6138140 h 6915788"/>
              <a:gd name="connsiteX3" fmla="*/ 1219892 w 4740100"/>
              <a:gd name="connsiteY3" fmla="*/ 6915747 h 6915788"/>
              <a:gd name="connsiteX4" fmla="*/ 0 w 4740100"/>
              <a:gd name="connsiteY4" fmla="*/ 977022 h 6915788"/>
              <a:gd name="connsiteX0" fmla="*/ 309615 w 3520215"/>
              <a:gd name="connsiteY0" fmla="*/ 678176 h 6915786"/>
              <a:gd name="connsiteX1" fmla="*/ 3520215 w 3520215"/>
              <a:gd name="connsiteY1" fmla="*/ 0 h 6915786"/>
              <a:gd name="connsiteX2" fmla="*/ 3520215 w 3520215"/>
              <a:gd name="connsiteY2" fmla="*/ 6138140 h 6915786"/>
              <a:gd name="connsiteX3" fmla="*/ 7 w 3520215"/>
              <a:gd name="connsiteY3" fmla="*/ 6915747 h 6915786"/>
              <a:gd name="connsiteX4" fmla="*/ 309615 w 3520215"/>
              <a:gd name="connsiteY4" fmla="*/ 678176 h 6915786"/>
              <a:gd name="connsiteX0" fmla="*/ 1 w 3210601"/>
              <a:gd name="connsiteY0" fmla="*/ 678176 h 6554246"/>
              <a:gd name="connsiteX1" fmla="*/ 3210601 w 3210601"/>
              <a:gd name="connsiteY1" fmla="*/ 0 h 6554246"/>
              <a:gd name="connsiteX2" fmla="*/ 3210601 w 3210601"/>
              <a:gd name="connsiteY2" fmla="*/ 6138140 h 6554246"/>
              <a:gd name="connsiteX3" fmla="*/ 932190 w 3210601"/>
              <a:gd name="connsiteY3" fmla="*/ 6554204 h 6554246"/>
              <a:gd name="connsiteX4" fmla="*/ 1 w 3210601"/>
              <a:gd name="connsiteY4" fmla="*/ 678176 h 6554246"/>
              <a:gd name="connsiteX0" fmla="*/ 0 w 3594687"/>
              <a:gd name="connsiteY0" fmla="*/ 786441 h 6554246"/>
              <a:gd name="connsiteX1" fmla="*/ 3594687 w 3594687"/>
              <a:gd name="connsiteY1" fmla="*/ 0 h 6554246"/>
              <a:gd name="connsiteX2" fmla="*/ 3594687 w 3594687"/>
              <a:gd name="connsiteY2" fmla="*/ 6138140 h 6554246"/>
              <a:gd name="connsiteX3" fmla="*/ 1316276 w 3594687"/>
              <a:gd name="connsiteY3" fmla="*/ 6554204 h 6554246"/>
              <a:gd name="connsiteX4" fmla="*/ 0 w 3594687"/>
              <a:gd name="connsiteY4" fmla="*/ 786441 h 6554246"/>
              <a:gd name="connsiteX0" fmla="*/ 0 w 3594687"/>
              <a:gd name="connsiteY0" fmla="*/ 786441 h 6616397"/>
              <a:gd name="connsiteX1" fmla="*/ 3594687 w 3594687"/>
              <a:gd name="connsiteY1" fmla="*/ 0 h 6616397"/>
              <a:gd name="connsiteX2" fmla="*/ 3594687 w 3594687"/>
              <a:gd name="connsiteY2" fmla="*/ 6138140 h 6616397"/>
              <a:gd name="connsiteX3" fmla="*/ 1232145 w 3594687"/>
              <a:gd name="connsiteY3" fmla="*/ 6616355 h 6616397"/>
              <a:gd name="connsiteX4" fmla="*/ 0 w 3594687"/>
              <a:gd name="connsiteY4" fmla="*/ 786441 h 6616397"/>
              <a:gd name="connsiteX0" fmla="*/ 0 w 3594687"/>
              <a:gd name="connsiteY0" fmla="*/ 786441 h 6638197"/>
              <a:gd name="connsiteX1" fmla="*/ 3594687 w 3594687"/>
              <a:gd name="connsiteY1" fmla="*/ 0 h 6638197"/>
              <a:gd name="connsiteX2" fmla="*/ 3594687 w 3594687"/>
              <a:gd name="connsiteY2" fmla="*/ 6138140 h 6638197"/>
              <a:gd name="connsiteX3" fmla="*/ 1254482 w 3594687"/>
              <a:gd name="connsiteY3" fmla="*/ 6638155 h 6638197"/>
              <a:gd name="connsiteX4" fmla="*/ 0 w 3594687"/>
              <a:gd name="connsiteY4" fmla="*/ 786441 h 6638197"/>
              <a:gd name="connsiteX0" fmla="*/ 1 w 3584959"/>
              <a:gd name="connsiteY0" fmla="*/ 748970 h 6638197"/>
              <a:gd name="connsiteX1" fmla="*/ 3584959 w 3584959"/>
              <a:gd name="connsiteY1" fmla="*/ 0 h 6638197"/>
              <a:gd name="connsiteX2" fmla="*/ 3584959 w 3584959"/>
              <a:gd name="connsiteY2" fmla="*/ 6138140 h 6638197"/>
              <a:gd name="connsiteX3" fmla="*/ 1244754 w 3584959"/>
              <a:gd name="connsiteY3" fmla="*/ 6638155 h 6638197"/>
              <a:gd name="connsiteX4" fmla="*/ 1 w 3584959"/>
              <a:gd name="connsiteY4" fmla="*/ 748970 h 6638197"/>
              <a:gd name="connsiteX0" fmla="*/ 0 w 3642429"/>
              <a:gd name="connsiteY0" fmla="*/ 770048 h 6638197"/>
              <a:gd name="connsiteX1" fmla="*/ 3642429 w 3642429"/>
              <a:gd name="connsiteY1" fmla="*/ 0 h 6638197"/>
              <a:gd name="connsiteX2" fmla="*/ 3642429 w 3642429"/>
              <a:gd name="connsiteY2" fmla="*/ 6138140 h 6638197"/>
              <a:gd name="connsiteX3" fmla="*/ 1302224 w 3642429"/>
              <a:gd name="connsiteY3" fmla="*/ 6638155 h 6638197"/>
              <a:gd name="connsiteX4" fmla="*/ 0 w 3642429"/>
              <a:gd name="connsiteY4" fmla="*/ 770048 h 6638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42429" h="6638197">
                <a:moveTo>
                  <a:pt x="0" y="770048"/>
                </a:moveTo>
                <a:lnTo>
                  <a:pt x="3642429" y="0"/>
                </a:lnTo>
                <a:lnTo>
                  <a:pt x="3642429" y="6138140"/>
                </a:lnTo>
                <a:lnTo>
                  <a:pt x="1302224" y="6638155"/>
                </a:lnTo>
                <a:cubicBezTo>
                  <a:pt x="1300595" y="6656425"/>
                  <a:pt x="-818" y="740276"/>
                  <a:pt x="0" y="770048"/>
                </a:cubicBezTo>
                <a:close/>
              </a:path>
            </a:pathLst>
          </a:custGeom>
          <a:solidFill>
            <a:srgbClr val="0018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51">
              <a:defRPr/>
            </a:pPr>
            <a:endParaRPr lang="en-US" sz="3200" dirty="0">
              <a:solidFill>
                <a:srgbClr val="FFFFFF"/>
              </a:solidFill>
            </a:endParaRPr>
          </a:p>
        </p:txBody>
      </p:sp>
      <p:pic>
        <p:nvPicPr>
          <p:cNvPr id="5" name="Picture 4" descr="MSFT_logo_rgb_C-Wht_D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156" y="6196736"/>
            <a:ext cx="1318381" cy="48495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210365"/>
            <a:ext cx="5486400" cy="1241237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5000" y="0"/>
            <a:ext cx="10287000" cy="6858000"/>
          </a:xfrm>
          <a:prstGeom prst="rect">
            <a:avLst/>
          </a:prstGeom>
        </p:spPr>
      </p:pic>
      <p:sp>
        <p:nvSpPr>
          <p:cNvPr id="7" name="Rectangle 1"/>
          <p:cNvSpPr/>
          <p:nvPr userDrawn="1"/>
        </p:nvSpPr>
        <p:spPr>
          <a:xfrm rot="720628">
            <a:off x="-745374" y="-537631"/>
            <a:ext cx="4191143" cy="7638207"/>
          </a:xfrm>
          <a:custGeom>
            <a:avLst/>
            <a:gdLst>
              <a:gd name="connsiteX0" fmla="*/ 0 w 6138140"/>
              <a:gd name="connsiteY0" fmla="*/ 0 h 6138140"/>
              <a:gd name="connsiteX1" fmla="*/ 6138140 w 6138140"/>
              <a:gd name="connsiteY1" fmla="*/ 0 h 6138140"/>
              <a:gd name="connsiteX2" fmla="*/ 6138140 w 6138140"/>
              <a:gd name="connsiteY2" fmla="*/ 6138140 h 6138140"/>
              <a:gd name="connsiteX3" fmla="*/ 0 w 6138140"/>
              <a:gd name="connsiteY3" fmla="*/ 6138140 h 6138140"/>
              <a:gd name="connsiteX4" fmla="*/ 0 w 6138140"/>
              <a:gd name="connsiteY4" fmla="*/ 0 h 6138140"/>
              <a:gd name="connsiteX0" fmla="*/ 3915 w 6138140"/>
              <a:gd name="connsiteY0" fmla="*/ 1261595 h 6138140"/>
              <a:gd name="connsiteX1" fmla="*/ 6138140 w 6138140"/>
              <a:gd name="connsiteY1" fmla="*/ 0 h 6138140"/>
              <a:gd name="connsiteX2" fmla="*/ 6138140 w 6138140"/>
              <a:gd name="connsiteY2" fmla="*/ 6138140 h 6138140"/>
              <a:gd name="connsiteX3" fmla="*/ 0 w 6138140"/>
              <a:gd name="connsiteY3" fmla="*/ 6138140 h 6138140"/>
              <a:gd name="connsiteX4" fmla="*/ 3915 w 6138140"/>
              <a:gd name="connsiteY4" fmla="*/ 1261595 h 6138140"/>
              <a:gd name="connsiteX0" fmla="*/ 1712 w 6135937"/>
              <a:gd name="connsiteY0" fmla="*/ 1261595 h 7448191"/>
              <a:gd name="connsiteX1" fmla="*/ 6135937 w 6135937"/>
              <a:gd name="connsiteY1" fmla="*/ 0 h 7448191"/>
              <a:gd name="connsiteX2" fmla="*/ 6135937 w 6135937"/>
              <a:gd name="connsiteY2" fmla="*/ 6138140 h 7448191"/>
              <a:gd name="connsiteX3" fmla="*/ 0 w 6135937"/>
              <a:gd name="connsiteY3" fmla="*/ 7448191 h 7448191"/>
              <a:gd name="connsiteX4" fmla="*/ 1712 w 6135937"/>
              <a:gd name="connsiteY4" fmla="*/ 1261595 h 7448191"/>
              <a:gd name="connsiteX0" fmla="*/ 1648870 w 6135937"/>
              <a:gd name="connsiteY0" fmla="*/ 923190 h 7448191"/>
              <a:gd name="connsiteX1" fmla="*/ 6135937 w 6135937"/>
              <a:gd name="connsiteY1" fmla="*/ 0 h 7448191"/>
              <a:gd name="connsiteX2" fmla="*/ 6135937 w 6135937"/>
              <a:gd name="connsiteY2" fmla="*/ 6138140 h 7448191"/>
              <a:gd name="connsiteX3" fmla="*/ 0 w 6135937"/>
              <a:gd name="connsiteY3" fmla="*/ 7448191 h 7448191"/>
              <a:gd name="connsiteX4" fmla="*/ 1648870 w 6135937"/>
              <a:gd name="connsiteY4" fmla="*/ 923190 h 7448191"/>
              <a:gd name="connsiteX0" fmla="*/ 1 w 4487068"/>
              <a:gd name="connsiteY0" fmla="*/ 923190 h 6874631"/>
              <a:gd name="connsiteX1" fmla="*/ 4487068 w 4487068"/>
              <a:gd name="connsiteY1" fmla="*/ 0 h 6874631"/>
              <a:gd name="connsiteX2" fmla="*/ 4487068 w 4487068"/>
              <a:gd name="connsiteY2" fmla="*/ 6138140 h 6874631"/>
              <a:gd name="connsiteX3" fmla="*/ 934069 w 4487068"/>
              <a:gd name="connsiteY3" fmla="*/ 6874631 h 6874631"/>
              <a:gd name="connsiteX4" fmla="*/ 1 w 4487068"/>
              <a:gd name="connsiteY4" fmla="*/ 923190 h 6874631"/>
              <a:gd name="connsiteX0" fmla="*/ 1 w 4487068"/>
              <a:gd name="connsiteY0" fmla="*/ 923190 h 6874694"/>
              <a:gd name="connsiteX1" fmla="*/ 4487068 w 4487068"/>
              <a:gd name="connsiteY1" fmla="*/ 0 h 6874694"/>
              <a:gd name="connsiteX2" fmla="*/ 4487068 w 4487068"/>
              <a:gd name="connsiteY2" fmla="*/ 6138140 h 6874694"/>
              <a:gd name="connsiteX3" fmla="*/ 934069 w 4487068"/>
              <a:gd name="connsiteY3" fmla="*/ 6874631 h 6874694"/>
              <a:gd name="connsiteX4" fmla="*/ 1 w 4487068"/>
              <a:gd name="connsiteY4" fmla="*/ 923190 h 6874694"/>
              <a:gd name="connsiteX0" fmla="*/ 1 w 4487068"/>
              <a:gd name="connsiteY0" fmla="*/ 923190 h 6874672"/>
              <a:gd name="connsiteX1" fmla="*/ 4487068 w 4487068"/>
              <a:gd name="connsiteY1" fmla="*/ 0 h 6874672"/>
              <a:gd name="connsiteX2" fmla="*/ 4487068 w 4487068"/>
              <a:gd name="connsiteY2" fmla="*/ 6138140 h 6874672"/>
              <a:gd name="connsiteX3" fmla="*/ 934069 w 4487068"/>
              <a:gd name="connsiteY3" fmla="*/ 6874631 h 6874672"/>
              <a:gd name="connsiteX4" fmla="*/ 1 w 4487068"/>
              <a:gd name="connsiteY4" fmla="*/ 923190 h 6874672"/>
              <a:gd name="connsiteX0" fmla="*/ 0 w 4740100"/>
              <a:gd name="connsiteY0" fmla="*/ 977022 h 6874673"/>
              <a:gd name="connsiteX1" fmla="*/ 4740100 w 4740100"/>
              <a:gd name="connsiteY1" fmla="*/ 0 h 6874673"/>
              <a:gd name="connsiteX2" fmla="*/ 4740100 w 4740100"/>
              <a:gd name="connsiteY2" fmla="*/ 6138140 h 6874673"/>
              <a:gd name="connsiteX3" fmla="*/ 1187101 w 4740100"/>
              <a:gd name="connsiteY3" fmla="*/ 6874631 h 6874673"/>
              <a:gd name="connsiteX4" fmla="*/ 0 w 4740100"/>
              <a:gd name="connsiteY4" fmla="*/ 977022 h 6874673"/>
              <a:gd name="connsiteX0" fmla="*/ 0 w 4740100"/>
              <a:gd name="connsiteY0" fmla="*/ 977022 h 6915788"/>
              <a:gd name="connsiteX1" fmla="*/ 4740100 w 4740100"/>
              <a:gd name="connsiteY1" fmla="*/ 0 h 6915788"/>
              <a:gd name="connsiteX2" fmla="*/ 4740100 w 4740100"/>
              <a:gd name="connsiteY2" fmla="*/ 6138140 h 6915788"/>
              <a:gd name="connsiteX3" fmla="*/ 1219892 w 4740100"/>
              <a:gd name="connsiteY3" fmla="*/ 6915747 h 6915788"/>
              <a:gd name="connsiteX4" fmla="*/ 0 w 4740100"/>
              <a:gd name="connsiteY4" fmla="*/ 977022 h 6915788"/>
              <a:gd name="connsiteX0" fmla="*/ 309615 w 3520215"/>
              <a:gd name="connsiteY0" fmla="*/ 678176 h 6915786"/>
              <a:gd name="connsiteX1" fmla="*/ 3520215 w 3520215"/>
              <a:gd name="connsiteY1" fmla="*/ 0 h 6915786"/>
              <a:gd name="connsiteX2" fmla="*/ 3520215 w 3520215"/>
              <a:gd name="connsiteY2" fmla="*/ 6138140 h 6915786"/>
              <a:gd name="connsiteX3" fmla="*/ 7 w 3520215"/>
              <a:gd name="connsiteY3" fmla="*/ 6915747 h 6915786"/>
              <a:gd name="connsiteX4" fmla="*/ 309615 w 3520215"/>
              <a:gd name="connsiteY4" fmla="*/ 678176 h 6915786"/>
              <a:gd name="connsiteX0" fmla="*/ 1 w 3210601"/>
              <a:gd name="connsiteY0" fmla="*/ 678176 h 6554246"/>
              <a:gd name="connsiteX1" fmla="*/ 3210601 w 3210601"/>
              <a:gd name="connsiteY1" fmla="*/ 0 h 6554246"/>
              <a:gd name="connsiteX2" fmla="*/ 3210601 w 3210601"/>
              <a:gd name="connsiteY2" fmla="*/ 6138140 h 6554246"/>
              <a:gd name="connsiteX3" fmla="*/ 932190 w 3210601"/>
              <a:gd name="connsiteY3" fmla="*/ 6554204 h 6554246"/>
              <a:gd name="connsiteX4" fmla="*/ 1 w 3210601"/>
              <a:gd name="connsiteY4" fmla="*/ 678176 h 6554246"/>
              <a:gd name="connsiteX0" fmla="*/ 0 w 3594687"/>
              <a:gd name="connsiteY0" fmla="*/ 786441 h 6554246"/>
              <a:gd name="connsiteX1" fmla="*/ 3594687 w 3594687"/>
              <a:gd name="connsiteY1" fmla="*/ 0 h 6554246"/>
              <a:gd name="connsiteX2" fmla="*/ 3594687 w 3594687"/>
              <a:gd name="connsiteY2" fmla="*/ 6138140 h 6554246"/>
              <a:gd name="connsiteX3" fmla="*/ 1316276 w 3594687"/>
              <a:gd name="connsiteY3" fmla="*/ 6554204 h 6554246"/>
              <a:gd name="connsiteX4" fmla="*/ 0 w 3594687"/>
              <a:gd name="connsiteY4" fmla="*/ 786441 h 6554246"/>
              <a:gd name="connsiteX0" fmla="*/ 0 w 3594687"/>
              <a:gd name="connsiteY0" fmla="*/ 786441 h 6616397"/>
              <a:gd name="connsiteX1" fmla="*/ 3594687 w 3594687"/>
              <a:gd name="connsiteY1" fmla="*/ 0 h 6616397"/>
              <a:gd name="connsiteX2" fmla="*/ 3594687 w 3594687"/>
              <a:gd name="connsiteY2" fmla="*/ 6138140 h 6616397"/>
              <a:gd name="connsiteX3" fmla="*/ 1232145 w 3594687"/>
              <a:gd name="connsiteY3" fmla="*/ 6616355 h 6616397"/>
              <a:gd name="connsiteX4" fmla="*/ 0 w 3594687"/>
              <a:gd name="connsiteY4" fmla="*/ 786441 h 6616397"/>
              <a:gd name="connsiteX0" fmla="*/ 0 w 3594687"/>
              <a:gd name="connsiteY0" fmla="*/ 786441 h 6638197"/>
              <a:gd name="connsiteX1" fmla="*/ 3594687 w 3594687"/>
              <a:gd name="connsiteY1" fmla="*/ 0 h 6638197"/>
              <a:gd name="connsiteX2" fmla="*/ 3594687 w 3594687"/>
              <a:gd name="connsiteY2" fmla="*/ 6138140 h 6638197"/>
              <a:gd name="connsiteX3" fmla="*/ 1254482 w 3594687"/>
              <a:gd name="connsiteY3" fmla="*/ 6638155 h 6638197"/>
              <a:gd name="connsiteX4" fmla="*/ 0 w 3594687"/>
              <a:gd name="connsiteY4" fmla="*/ 786441 h 6638197"/>
              <a:gd name="connsiteX0" fmla="*/ 1 w 3584959"/>
              <a:gd name="connsiteY0" fmla="*/ 748970 h 6638197"/>
              <a:gd name="connsiteX1" fmla="*/ 3584959 w 3584959"/>
              <a:gd name="connsiteY1" fmla="*/ 0 h 6638197"/>
              <a:gd name="connsiteX2" fmla="*/ 3584959 w 3584959"/>
              <a:gd name="connsiteY2" fmla="*/ 6138140 h 6638197"/>
              <a:gd name="connsiteX3" fmla="*/ 1244754 w 3584959"/>
              <a:gd name="connsiteY3" fmla="*/ 6638155 h 6638197"/>
              <a:gd name="connsiteX4" fmla="*/ 1 w 3584959"/>
              <a:gd name="connsiteY4" fmla="*/ 748970 h 6638197"/>
              <a:gd name="connsiteX0" fmla="*/ 0 w 3642429"/>
              <a:gd name="connsiteY0" fmla="*/ 770048 h 6638197"/>
              <a:gd name="connsiteX1" fmla="*/ 3642429 w 3642429"/>
              <a:gd name="connsiteY1" fmla="*/ 0 h 6638197"/>
              <a:gd name="connsiteX2" fmla="*/ 3642429 w 3642429"/>
              <a:gd name="connsiteY2" fmla="*/ 6138140 h 6638197"/>
              <a:gd name="connsiteX3" fmla="*/ 1302224 w 3642429"/>
              <a:gd name="connsiteY3" fmla="*/ 6638155 h 6638197"/>
              <a:gd name="connsiteX4" fmla="*/ 0 w 3642429"/>
              <a:gd name="connsiteY4" fmla="*/ 770048 h 6638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42429" h="6638197">
                <a:moveTo>
                  <a:pt x="0" y="770048"/>
                </a:moveTo>
                <a:lnTo>
                  <a:pt x="3642429" y="0"/>
                </a:lnTo>
                <a:lnTo>
                  <a:pt x="3642429" y="6138140"/>
                </a:lnTo>
                <a:lnTo>
                  <a:pt x="1302224" y="6638155"/>
                </a:lnTo>
                <a:cubicBezTo>
                  <a:pt x="1300595" y="6656425"/>
                  <a:pt x="-818" y="740276"/>
                  <a:pt x="0" y="7700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51">
              <a:defRPr/>
            </a:pPr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1061591"/>
            <a:ext cx="3338653" cy="1077218"/>
          </a:xfrm>
        </p:spPr>
        <p:txBody>
          <a:bodyPr anchor="ctr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03199" y="2489202"/>
            <a:ext cx="3141885" cy="706140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+mj-lt"/>
              </a:defRPr>
            </a:lvl1pPr>
            <a:lvl2pPr marL="0" indent="0">
              <a:buNone/>
              <a:defRPr sz="1600"/>
            </a:lvl2pPr>
            <a:lvl3pPr marL="172971" indent="0">
              <a:buNone/>
              <a:defRPr/>
            </a:lvl3pPr>
            <a:lvl4pPr marL="338008" indent="9523">
              <a:buNone/>
              <a:defRPr/>
            </a:lvl4pPr>
            <a:lvl5pPr marL="2437403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0" name="Picture 9" descr="MSFT_logo_rgb_C-Gray_D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594" t="20874" r="-5581" b="11620"/>
          <a:stretch/>
        </p:blipFill>
        <p:spPr>
          <a:xfrm>
            <a:off x="131603" y="6297882"/>
            <a:ext cx="1450848" cy="329184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"/>
          <p:cNvSpPr/>
          <p:nvPr userDrawn="1"/>
        </p:nvSpPr>
        <p:spPr>
          <a:xfrm rot="720628">
            <a:off x="-745374" y="-537631"/>
            <a:ext cx="4191143" cy="7638207"/>
          </a:xfrm>
          <a:custGeom>
            <a:avLst/>
            <a:gdLst>
              <a:gd name="connsiteX0" fmla="*/ 0 w 6138140"/>
              <a:gd name="connsiteY0" fmla="*/ 0 h 6138140"/>
              <a:gd name="connsiteX1" fmla="*/ 6138140 w 6138140"/>
              <a:gd name="connsiteY1" fmla="*/ 0 h 6138140"/>
              <a:gd name="connsiteX2" fmla="*/ 6138140 w 6138140"/>
              <a:gd name="connsiteY2" fmla="*/ 6138140 h 6138140"/>
              <a:gd name="connsiteX3" fmla="*/ 0 w 6138140"/>
              <a:gd name="connsiteY3" fmla="*/ 6138140 h 6138140"/>
              <a:gd name="connsiteX4" fmla="*/ 0 w 6138140"/>
              <a:gd name="connsiteY4" fmla="*/ 0 h 6138140"/>
              <a:gd name="connsiteX0" fmla="*/ 3915 w 6138140"/>
              <a:gd name="connsiteY0" fmla="*/ 1261595 h 6138140"/>
              <a:gd name="connsiteX1" fmla="*/ 6138140 w 6138140"/>
              <a:gd name="connsiteY1" fmla="*/ 0 h 6138140"/>
              <a:gd name="connsiteX2" fmla="*/ 6138140 w 6138140"/>
              <a:gd name="connsiteY2" fmla="*/ 6138140 h 6138140"/>
              <a:gd name="connsiteX3" fmla="*/ 0 w 6138140"/>
              <a:gd name="connsiteY3" fmla="*/ 6138140 h 6138140"/>
              <a:gd name="connsiteX4" fmla="*/ 3915 w 6138140"/>
              <a:gd name="connsiteY4" fmla="*/ 1261595 h 6138140"/>
              <a:gd name="connsiteX0" fmla="*/ 1712 w 6135937"/>
              <a:gd name="connsiteY0" fmla="*/ 1261595 h 7448191"/>
              <a:gd name="connsiteX1" fmla="*/ 6135937 w 6135937"/>
              <a:gd name="connsiteY1" fmla="*/ 0 h 7448191"/>
              <a:gd name="connsiteX2" fmla="*/ 6135937 w 6135937"/>
              <a:gd name="connsiteY2" fmla="*/ 6138140 h 7448191"/>
              <a:gd name="connsiteX3" fmla="*/ 0 w 6135937"/>
              <a:gd name="connsiteY3" fmla="*/ 7448191 h 7448191"/>
              <a:gd name="connsiteX4" fmla="*/ 1712 w 6135937"/>
              <a:gd name="connsiteY4" fmla="*/ 1261595 h 7448191"/>
              <a:gd name="connsiteX0" fmla="*/ 1648870 w 6135937"/>
              <a:gd name="connsiteY0" fmla="*/ 923190 h 7448191"/>
              <a:gd name="connsiteX1" fmla="*/ 6135937 w 6135937"/>
              <a:gd name="connsiteY1" fmla="*/ 0 h 7448191"/>
              <a:gd name="connsiteX2" fmla="*/ 6135937 w 6135937"/>
              <a:gd name="connsiteY2" fmla="*/ 6138140 h 7448191"/>
              <a:gd name="connsiteX3" fmla="*/ 0 w 6135937"/>
              <a:gd name="connsiteY3" fmla="*/ 7448191 h 7448191"/>
              <a:gd name="connsiteX4" fmla="*/ 1648870 w 6135937"/>
              <a:gd name="connsiteY4" fmla="*/ 923190 h 7448191"/>
              <a:gd name="connsiteX0" fmla="*/ 1 w 4487068"/>
              <a:gd name="connsiteY0" fmla="*/ 923190 h 6874631"/>
              <a:gd name="connsiteX1" fmla="*/ 4487068 w 4487068"/>
              <a:gd name="connsiteY1" fmla="*/ 0 h 6874631"/>
              <a:gd name="connsiteX2" fmla="*/ 4487068 w 4487068"/>
              <a:gd name="connsiteY2" fmla="*/ 6138140 h 6874631"/>
              <a:gd name="connsiteX3" fmla="*/ 934069 w 4487068"/>
              <a:gd name="connsiteY3" fmla="*/ 6874631 h 6874631"/>
              <a:gd name="connsiteX4" fmla="*/ 1 w 4487068"/>
              <a:gd name="connsiteY4" fmla="*/ 923190 h 6874631"/>
              <a:gd name="connsiteX0" fmla="*/ 1 w 4487068"/>
              <a:gd name="connsiteY0" fmla="*/ 923190 h 6874694"/>
              <a:gd name="connsiteX1" fmla="*/ 4487068 w 4487068"/>
              <a:gd name="connsiteY1" fmla="*/ 0 h 6874694"/>
              <a:gd name="connsiteX2" fmla="*/ 4487068 w 4487068"/>
              <a:gd name="connsiteY2" fmla="*/ 6138140 h 6874694"/>
              <a:gd name="connsiteX3" fmla="*/ 934069 w 4487068"/>
              <a:gd name="connsiteY3" fmla="*/ 6874631 h 6874694"/>
              <a:gd name="connsiteX4" fmla="*/ 1 w 4487068"/>
              <a:gd name="connsiteY4" fmla="*/ 923190 h 6874694"/>
              <a:gd name="connsiteX0" fmla="*/ 1 w 4487068"/>
              <a:gd name="connsiteY0" fmla="*/ 923190 h 6874672"/>
              <a:gd name="connsiteX1" fmla="*/ 4487068 w 4487068"/>
              <a:gd name="connsiteY1" fmla="*/ 0 h 6874672"/>
              <a:gd name="connsiteX2" fmla="*/ 4487068 w 4487068"/>
              <a:gd name="connsiteY2" fmla="*/ 6138140 h 6874672"/>
              <a:gd name="connsiteX3" fmla="*/ 934069 w 4487068"/>
              <a:gd name="connsiteY3" fmla="*/ 6874631 h 6874672"/>
              <a:gd name="connsiteX4" fmla="*/ 1 w 4487068"/>
              <a:gd name="connsiteY4" fmla="*/ 923190 h 6874672"/>
              <a:gd name="connsiteX0" fmla="*/ 0 w 4740100"/>
              <a:gd name="connsiteY0" fmla="*/ 977022 h 6874673"/>
              <a:gd name="connsiteX1" fmla="*/ 4740100 w 4740100"/>
              <a:gd name="connsiteY1" fmla="*/ 0 h 6874673"/>
              <a:gd name="connsiteX2" fmla="*/ 4740100 w 4740100"/>
              <a:gd name="connsiteY2" fmla="*/ 6138140 h 6874673"/>
              <a:gd name="connsiteX3" fmla="*/ 1187101 w 4740100"/>
              <a:gd name="connsiteY3" fmla="*/ 6874631 h 6874673"/>
              <a:gd name="connsiteX4" fmla="*/ 0 w 4740100"/>
              <a:gd name="connsiteY4" fmla="*/ 977022 h 6874673"/>
              <a:gd name="connsiteX0" fmla="*/ 0 w 4740100"/>
              <a:gd name="connsiteY0" fmla="*/ 977022 h 6915788"/>
              <a:gd name="connsiteX1" fmla="*/ 4740100 w 4740100"/>
              <a:gd name="connsiteY1" fmla="*/ 0 h 6915788"/>
              <a:gd name="connsiteX2" fmla="*/ 4740100 w 4740100"/>
              <a:gd name="connsiteY2" fmla="*/ 6138140 h 6915788"/>
              <a:gd name="connsiteX3" fmla="*/ 1219892 w 4740100"/>
              <a:gd name="connsiteY3" fmla="*/ 6915747 h 6915788"/>
              <a:gd name="connsiteX4" fmla="*/ 0 w 4740100"/>
              <a:gd name="connsiteY4" fmla="*/ 977022 h 6915788"/>
              <a:gd name="connsiteX0" fmla="*/ 309615 w 3520215"/>
              <a:gd name="connsiteY0" fmla="*/ 678176 h 6915786"/>
              <a:gd name="connsiteX1" fmla="*/ 3520215 w 3520215"/>
              <a:gd name="connsiteY1" fmla="*/ 0 h 6915786"/>
              <a:gd name="connsiteX2" fmla="*/ 3520215 w 3520215"/>
              <a:gd name="connsiteY2" fmla="*/ 6138140 h 6915786"/>
              <a:gd name="connsiteX3" fmla="*/ 7 w 3520215"/>
              <a:gd name="connsiteY3" fmla="*/ 6915747 h 6915786"/>
              <a:gd name="connsiteX4" fmla="*/ 309615 w 3520215"/>
              <a:gd name="connsiteY4" fmla="*/ 678176 h 6915786"/>
              <a:gd name="connsiteX0" fmla="*/ 1 w 3210601"/>
              <a:gd name="connsiteY0" fmla="*/ 678176 h 6554246"/>
              <a:gd name="connsiteX1" fmla="*/ 3210601 w 3210601"/>
              <a:gd name="connsiteY1" fmla="*/ 0 h 6554246"/>
              <a:gd name="connsiteX2" fmla="*/ 3210601 w 3210601"/>
              <a:gd name="connsiteY2" fmla="*/ 6138140 h 6554246"/>
              <a:gd name="connsiteX3" fmla="*/ 932190 w 3210601"/>
              <a:gd name="connsiteY3" fmla="*/ 6554204 h 6554246"/>
              <a:gd name="connsiteX4" fmla="*/ 1 w 3210601"/>
              <a:gd name="connsiteY4" fmla="*/ 678176 h 6554246"/>
              <a:gd name="connsiteX0" fmla="*/ 0 w 3594687"/>
              <a:gd name="connsiteY0" fmla="*/ 786441 h 6554246"/>
              <a:gd name="connsiteX1" fmla="*/ 3594687 w 3594687"/>
              <a:gd name="connsiteY1" fmla="*/ 0 h 6554246"/>
              <a:gd name="connsiteX2" fmla="*/ 3594687 w 3594687"/>
              <a:gd name="connsiteY2" fmla="*/ 6138140 h 6554246"/>
              <a:gd name="connsiteX3" fmla="*/ 1316276 w 3594687"/>
              <a:gd name="connsiteY3" fmla="*/ 6554204 h 6554246"/>
              <a:gd name="connsiteX4" fmla="*/ 0 w 3594687"/>
              <a:gd name="connsiteY4" fmla="*/ 786441 h 6554246"/>
              <a:gd name="connsiteX0" fmla="*/ 0 w 3594687"/>
              <a:gd name="connsiteY0" fmla="*/ 786441 h 6616397"/>
              <a:gd name="connsiteX1" fmla="*/ 3594687 w 3594687"/>
              <a:gd name="connsiteY1" fmla="*/ 0 h 6616397"/>
              <a:gd name="connsiteX2" fmla="*/ 3594687 w 3594687"/>
              <a:gd name="connsiteY2" fmla="*/ 6138140 h 6616397"/>
              <a:gd name="connsiteX3" fmla="*/ 1232145 w 3594687"/>
              <a:gd name="connsiteY3" fmla="*/ 6616355 h 6616397"/>
              <a:gd name="connsiteX4" fmla="*/ 0 w 3594687"/>
              <a:gd name="connsiteY4" fmla="*/ 786441 h 6616397"/>
              <a:gd name="connsiteX0" fmla="*/ 0 w 3594687"/>
              <a:gd name="connsiteY0" fmla="*/ 786441 h 6638197"/>
              <a:gd name="connsiteX1" fmla="*/ 3594687 w 3594687"/>
              <a:gd name="connsiteY1" fmla="*/ 0 h 6638197"/>
              <a:gd name="connsiteX2" fmla="*/ 3594687 w 3594687"/>
              <a:gd name="connsiteY2" fmla="*/ 6138140 h 6638197"/>
              <a:gd name="connsiteX3" fmla="*/ 1254482 w 3594687"/>
              <a:gd name="connsiteY3" fmla="*/ 6638155 h 6638197"/>
              <a:gd name="connsiteX4" fmla="*/ 0 w 3594687"/>
              <a:gd name="connsiteY4" fmla="*/ 786441 h 6638197"/>
              <a:gd name="connsiteX0" fmla="*/ 1 w 3584959"/>
              <a:gd name="connsiteY0" fmla="*/ 748970 h 6638197"/>
              <a:gd name="connsiteX1" fmla="*/ 3584959 w 3584959"/>
              <a:gd name="connsiteY1" fmla="*/ 0 h 6638197"/>
              <a:gd name="connsiteX2" fmla="*/ 3584959 w 3584959"/>
              <a:gd name="connsiteY2" fmla="*/ 6138140 h 6638197"/>
              <a:gd name="connsiteX3" fmla="*/ 1244754 w 3584959"/>
              <a:gd name="connsiteY3" fmla="*/ 6638155 h 6638197"/>
              <a:gd name="connsiteX4" fmla="*/ 1 w 3584959"/>
              <a:gd name="connsiteY4" fmla="*/ 748970 h 6638197"/>
              <a:gd name="connsiteX0" fmla="*/ 0 w 3642429"/>
              <a:gd name="connsiteY0" fmla="*/ 770048 h 6638197"/>
              <a:gd name="connsiteX1" fmla="*/ 3642429 w 3642429"/>
              <a:gd name="connsiteY1" fmla="*/ 0 h 6638197"/>
              <a:gd name="connsiteX2" fmla="*/ 3642429 w 3642429"/>
              <a:gd name="connsiteY2" fmla="*/ 6138140 h 6638197"/>
              <a:gd name="connsiteX3" fmla="*/ 1302224 w 3642429"/>
              <a:gd name="connsiteY3" fmla="*/ 6638155 h 6638197"/>
              <a:gd name="connsiteX4" fmla="*/ 0 w 3642429"/>
              <a:gd name="connsiteY4" fmla="*/ 770048 h 6638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42429" h="6638197">
                <a:moveTo>
                  <a:pt x="0" y="770048"/>
                </a:moveTo>
                <a:lnTo>
                  <a:pt x="3642429" y="0"/>
                </a:lnTo>
                <a:lnTo>
                  <a:pt x="3642429" y="6138140"/>
                </a:lnTo>
                <a:lnTo>
                  <a:pt x="1302224" y="6638155"/>
                </a:lnTo>
                <a:cubicBezTo>
                  <a:pt x="1300595" y="6656425"/>
                  <a:pt x="-818" y="740276"/>
                  <a:pt x="0" y="770048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51">
              <a:defRPr/>
            </a:pPr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1061591"/>
            <a:ext cx="3338653" cy="107721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03199" y="2489202"/>
            <a:ext cx="3141885" cy="706140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  <a:lvl3pPr marL="172971" indent="0">
              <a:buNone/>
              <a:defRPr/>
            </a:lvl3pPr>
            <a:lvl4pPr marL="338008" indent="9523">
              <a:buNone/>
              <a:defRPr/>
            </a:lvl4pPr>
            <a:lvl5pPr marL="2437403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8" name="Picture 7" descr="MSFT_logo_rgb_C-Wht_D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156" y="6196736"/>
            <a:ext cx="1318381" cy="484957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194175" y="482602"/>
            <a:ext cx="7785100" cy="1818159"/>
          </a:xfrm>
        </p:spPr>
        <p:txBody>
          <a:bodyPr/>
          <a:lstStyle>
            <a:lvl1pPr marL="0" indent="0">
              <a:buNone/>
              <a:defRPr sz="3200">
                <a:latin typeface="+mj-lt"/>
              </a:defRPr>
            </a:lvl1pPr>
            <a:lvl2pPr marL="241208" indent="-241208"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622061" indent="-303097">
              <a:tabLst/>
              <a:defRPr sz="2000">
                <a:latin typeface="+mj-lt"/>
              </a:defRPr>
            </a:lvl3pPr>
            <a:lvl4pPr marL="914049" indent="-303097">
              <a:defRPr/>
            </a:lvl4pPr>
            <a:lvl5pPr marL="1377421" indent="-303097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/>
          <p:nvPr userDrawn="1"/>
        </p:nvSpPr>
        <p:spPr>
          <a:xfrm rot="719012">
            <a:off x="-825642" y="-712938"/>
            <a:ext cx="5213064" cy="8010101"/>
          </a:xfrm>
          <a:custGeom>
            <a:avLst/>
            <a:gdLst>
              <a:gd name="connsiteX0" fmla="*/ 0 w 7205604"/>
              <a:gd name="connsiteY0" fmla="*/ 0 h 7205604"/>
              <a:gd name="connsiteX1" fmla="*/ 7205604 w 7205604"/>
              <a:gd name="connsiteY1" fmla="*/ 0 h 7205604"/>
              <a:gd name="connsiteX2" fmla="*/ 7205604 w 7205604"/>
              <a:gd name="connsiteY2" fmla="*/ 7205604 h 7205604"/>
              <a:gd name="connsiteX3" fmla="*/ 0 w 7205604"/>
              <a:gd name="connsiteY3" fmla="*/ 7205604 h 7205604"/>
              <a:gd name="connsiteX4" fmla="*/ 0 w 7205604"/>
              <a:gd name="connsiteY4" fmla="*/ 0 h 7205604"/>
              <a:gd name="connsiteX0" fmla="*/ 0 w 7209224"/>
              <a:gd name="connsiteY0" fmla="*/ 1455421 h 7205604"/>
              <a:gd name="connsiteX1" fmla="*/ 7209224 w 7209224"/>
              <a:gd name="connsiteY1" fmla="*/ 0 h 7205604"/>
              <a:gd name="connsiteX2" fmla="*/ 7209224 w 7209224"/>
              <a:gd name="connsiteY2" fmla="*/ 7205604 h 7205604"/>
              <a:gd name="connsiteX3" fmla="*/ 3620 w 7209224"/>
              <a:gd name="connsiteY3" fmla="*/ 7205604 h 7205604"/>
              <a:gd name="connsiteX4" fmla="*/ 0 w 7209224"/>
              <a:gd name="connsiteY4" fmla="*/ 1455421 h 7205604"/>
              <a:gd name="connsiteX0" fmla="*/ 0 w 7209224"/>
              <a:gd name="connsiteY0" fmla="*/ 516632 h 6266815"/>
              <a:gd name="connsiteX1" fmla="*/ 7204133 w 7209224"/>
              <a:gd name="connsiteY1" fmla="*/ 0 h 6266815"/>
              <a:gd name="connsiteX2" fmla="*/ 7209224 w 7209224"/>
              <a:gd name="connsiteY2" fmla="*/ 6266815 h 6266815"/>
              <a:gd name="connsiteX3" fmla="*/ 3620 w 7209224"/>
              <a:gd name="connsiteY3" fmla="*/ 6266815 h 6266815"/>
              <a:gd name="connsiteX4" fmla="*/ 0 w 7209224"/>
              <a:gd name="connsiteY4" fmla="*/ 516632 h 6266815"/>
              <a:gd name="connsiteX0" fmla="*/ 0 w 7209108"/>
              <a:gd name="connsiteY0" fmla="*/ 516632 h 6266815"/>
              <a:gd name="connsiteX1" fmla="*/ 7204133 w 7209108"/>
              <a:gd name="connsiteY1" fmla="*/ 0 h 6266815"/>
              <a:gd name="connsiteX2" fmla="*/ 7209108 w 7209108"/>
              <a:gd name="connsiteY2" fmla="*/ 5473393 h 6266815"/>
              <a:gd name="connsiteX3" fmla="*/ 3620 w 7209108"/>
              <a:gd name="connsiteY3" fmla="*/ 6266815 h 6266815"/>
              <a:gd name="connsiteX4" fmla="*/ 0 w 7209108"/>
              <a:gd name="connsiteY4" fmla="*/ 516632 h 6266815"/>
              <a:gd name="connsiteX0" fmla="*/ 0 w 7209108"/>
              <a:gd name="connsiteY0" fmla="*/ 516632 h 6039733"/>
              <a:gd name="connsiteX1" fmla="*/ 7204133 w 7209108"/>
              <a:gd name="connsiteY1" fmla="*/ 0 h 6039733"/>
              <a:gd name="connsiteX2" fmla="*/ 7209108 w 7209108"/>
              <a:gd name="connsiteY2" fmla="*/ 5473393 h 6039733"/>
              <a:gd name="connsiteX3" fmla="*/ 4415155 w 7209108"/>
              <a:gd name="connsiteY3" fmla="*/ 6039733 h 6039733"/>
              <a:gd name="connsiteX4" fmla="*/ 0 w 7209108"/>
              <a:gd name="connsiteY4" fmla="*/ 516632 h 6039733"/>
              <a:gd name="connsiteX0" fmla="*/ 0 w 3981961"/>
              <a:gd name="connsiteY0" fmla="*/ 769360 h 6039733"/>
              <a:gd name="connsiteX1" fmla="*/ 3976986 w 3981961"/>
              <a:gd name="connsiteY1" fmla="*/ 0 h 6039733"/>
              <a:gd name="connsiteX2" fmla="*/ 3981961 w 3981961"/>
              <a:gd name="connsiteY2" fmla="*/ 5473393 h 6039733"/>
              <a:gd name="connsiteX3" fmla="*/ 1188008 w 3981961"/>
              <a:gd name="connsiteY3" fmla="*/ 6039733 h 6039733"/>
              <a:gd name="connsiteX4" fmla="*/ 0 w 3981961"/>
              <a:gd name="connsiteY4" fmla="*/ 769360 h 6039733"/>
              <a:gd name="connsiteX0" fmla="*/ 0 w 3981961"/>
              <a:gd name="connsiteY0" fmla="*/ 769360 h 6039733"/>
              <a:gd name="connsiteX1" fmla="*/ 3976986 w 3981961"/>
              <a:gd name="connsiteY1" fmla="*/ 0 h 6039733"/>
              <a:gd name="connsiteX2" fmla="*/ 3981961 w 3981961"/>
              <a:gd name="connsiteY2" fmla="*/ 5473393 h 6039733"/>
              <a:gd name="connsiteX3" fmla="*/ 1188008 w 3981961"/>
              <a:gd name="connsiteY3" fmla="*/ 6039733 h 6039733"/>
              <a:gd name="connsiteX4" fmla="*/ 0 w 3981961"/>
              <a:gd name="connsiteY4" fmla="*/ 769360 h 6039733"/>
              <a:gd name="connsiteX0" fmla="*/ 0 w 3981961"/>
              <a:gd name="connsiteY0" fmla="*/ 769360 h 6039733"/>
              <a:gd name="connsiteX1" fmla="*/ 3976986 w 3981961"/>
              <a:gd name="connsiteY1" fmla="*/ 0 h 6039733"/>
              <a:gd name="connsiteX2" fmla="*/ 3981961 w 3981961"/>
              <a:gd name="connsiteY2" fmla="*/ 5473393 h 6039733"/>
              <a:gd name="connsiteX3" fmla="*/ 1188008 w 3981961"/>
              <a:gd name="connsiteY3" fmla="*/ 6039733 h 6039733"/>
              <a:gd name="connsiteX4" fmla="*/ 0 w 3981961"/>
              <a:gd name="connsiteY4" fmla="*/ 769360 h 6039733"/>
              <a:gd name="connsiteX0" fmla="*/ 0 w 3967311"/>
              <a:gd name="connsiteY0" fmla="*/ 838381 h 6039733"/>
              <a:gd name="connsiteX1" fmla="*/ 3962336 w 3967311"/>
              <a:gd name="connsiteY1" fmla="*/ 0 h 6039733"/>
              <a:gd name="connsiteX2" fmla="*/ 3967311 w 3967311"/>
              <a:gd name="connsiteY2" fmla="*/ 5473393 h 6039733"/>
              <a:gd name="connsiteX3" fmla="*/ 1173358 w 3967311"/>
              <a:gd name="connsiteY3" fmla="*/ 6039733 h 6039733"/>
              <a:gd name="connsiteX4" fmla="*/ 0 w 3967311"/>
              <a:gd name="connsiteY4" fmla="*/ 838381 h 6039733"/>
              <a:gd name="connsiteX0" fmla="*/ 0 w 3909798"/>
              <a:gd name="connsiteY0" fmla="*/ 826173 h 6039733"/>
              <a:gd name="connsiteX1" fmla="*/ 3904823 w 3909798"/>
              <a:gd name="connsiteY1" fmla="*/ 0 h 6039733"/>
              <a:gd name="connsiteX2" fmla="*/ 3909798 w 3909798"/>
              <a:gd name="connsiteY2" fmla="*/ 5473393 h 6039733"/>
              <a:gd name="connsiteX3" fmla="*/ 1115845 w 3909798"/>
              <a:gd name="connsiteY3" fmla="*/ 6039733 h 6039733"/>
              <a:gd name="connsiteX4" fmla="*/ 0 w 3909798"/>
              <a:gd name="connsiteY4" fmla="*/ 826173 h 6039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09798" h="6039733">
                <a:moveTo>
                  <a:pt x="0" y="826173"/>
                </a:moveTo>
                <a:lnTo>
                  <a:pt x="3904823" y="0"/>
                </a:lnTo>
                <a:cubicBezTo>
                  <a:pt x="3906481" y="1824464"/>
                  <a:pt x="3908140" y="3648929"/>
                  <a:pt x="3909798" y="5473393"/>
                </a:cubicBezTo>
                <a:lnTo>
                  <a:pt x="1115845" y="6039733"/>
                </a:lnTo>
                <a:cubicBezTo>
                  <a:pt x="724255" y="4265976"/>
                  <a:pt x="4062" y="830808"/>
                  <a:pt x="0" y="82617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51">
              <a:defRPr/>
            </a:pPr>
            <a:endParaRPr lang="en-US" sz="3200" dirty="0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/>
          <p:nvPr userDrawn="1"/>
        </p:nvSpPr>
        <p:spPr>
          <a:xfrm rot="719012">
            <a:off x="-706335" y="-681017"/>
            <a:ext cx="5213064" cy="7915573"/>
          </a:xfrm>
          <a:custGeom>
            <a:avLst/>
            <a:gdLst>
              <a:gd name="connsiteX0" fmla="*/ 0 w 7205604"/>
              <a:gd name="connsiteY0" fmla="*/ 0 h 7205604"/>
              <a:gd name="connsiteX1" fmla="*/ 7205604 w 7205604"/>
              <a:gd name="connsiteY1" fmla="*/ 0 h 7205604"/>
              <a:gd name="connsiteX2" fmla="*/ 7205604 w 7205604"/>
              <a:gd name="connsiteY2" fmla="*/ 7205604 h 7205604"/>
              <a:gd name="connsiteX3" fmla="*/ 0 w 7205604"/>
              <a:gd name="connsiteY3" fmla="*/ 7205604 h 7205604"/>
              <a:gd name="connsiteX4" fmla="*/ 0 w 7205604"/>
              <a:gd name="connsiteY4" fmla="*/ 0 h 7205604"/>
              <a:gd name="connsiteX0" fmla="*/ 0 w 7209224"/>
              <a:gd name="connsiteY0" fmla="*/ 1455421 h 7205604"/>
              <a:gd name="connsiteX1" fmla="*/ 7209224 w 7209224"/>
              <a:gd name="connsiteY1" fmla="*/ 0 h 7205604"/>
              <a:gd name="connsiteX2" fmla="*/ 7209224 w 7209224"/>
              <a:gd name="connsiteY2" fmla="*/ 7205604 h 7205604"/>
              <a:gd name="connsiteX3" fmla="*/ 3620 w 7209224"/>
              <a:gd name="connsiteY3" fmla="*/ 7205604 h 7205604"/>
              <a:gd name="connsiteX4" fmla="*/ 0 w 7209224"/>
              <a:gd name="connsiteY4" fmla="*/ 1455421 h 7205604"/>
              <a:gd name="connsiteX0" fmla="*/ 0 w 7209224"/>
              <a:gd name="connsiteY0" fmla="*/ 516632 h 6266815"/>
              <a:gd name="connsiteX1" fmla="*/ 7204133 w 7209224"/>
              <a:gd name="connsiteY1" fmla="*/ 0 h 6266815"/>
              <a:gd name="connsiteX2" fmla="*/ 7209224 w 7209224"/>
              <a:gd name="connsiteY2" fmla="*/ 6266815 h 6266815"/>
              <a:gd name="connsiteX3" fmla="*/ 3620 w 7209224"/>
              <a:gd name="connsiteY3" fmla="*/ 6266815 h 6266815"/>
              <a:gd name="connsiteX4" fmla="*/ 0 w 7209224"/>
              <a:gd name="connsiteY4" fmla="*/ 516632 h 6266815"/>
              <a:gd name="connsiteX0" fmla="*/ 0 w 7209108"/>
              <a:gd name="connsiteY0" fmla="*/ 516632 h 6266815"/>
              <a:gd name="connsiteX1" fmla="*/ 7204133 w 7209108"/>
              <a:gd name="connsiteY1" fmla="*/ 0 h 6266815"/>
              <a:gd name="connsiteX2" fmla="*/ 7209108 w 7209108"/>
              <a:gd name="connsiteY2" fmla="*/ 5473393 h 6266815"/>
              <a:gd name="connsiteX3" fmla="*/ 3620 w 7209108"/>
              <a:gd name="connsiteY3" fmla="*/ 6266815 h 6266815"/>
              <a:gd name="connsiteX4" fmla="*/ 0 w 7209108"/>
              <a:gd name="connsiteY4" fmla="*/ 516632 h 6266815"/>
              <a:gd name="connsiteX0" fmla="*/ 0 w 7209108"/>
              <a:gd name="connsiteY0" fmla="*/ 516632 h 6039733"/>
              <a:gd name="connsiteX1" fmla="*/ 7204133 w 7209108"/>
              <a:gd name="connsiteY1" fmla="*/ 0 h 6039733"/>
              <a:gd name="connsiteX2" fmla="*/ 7209108 w 7209108"/>
              <a:gd name="connsiteY2" fmla="*/ 5473393 h 6039733"/>
              <a:gd name="connsiteX3" fmla="*/ 4415155 w 7209108"/>
              <a:gd name="connsiteY3" fmla="*/ 6039733 h 6039733"/>
              <a:gd name="connsiteX4" fmla="*/ 0 w 7209108"/>
              <a:gd name="connsiteY4" fmla="*/ 516632 h 6039733"/>
              <a:gd name="connsiteX0" fmla="*/ 0 w 3981961"/>
              <a:gd name="connsiteY0" fmla="*/ 769360 h 6039733"/>
              <a:gd name="connsiteX1" fmla="*/ 3976986 w 3981961"/>
              <a:gd name="connsiteY1" fmla="*/ 0 h 6039733"/>
              <a:gd name="connsiteX2" fmla="*/ 3981961 w 3981961"/>
              <a:gd name="connsiteY2" fmla="*/ 5473393 h 6039733"/>
              <a:gd name="connsiteX3" fmla="*/ 1188008 w 3981961"/>
              <a:gd name="connsiteY3" fmla="*/ 6039733 h 6039733"/>
              <a:gd name="connsiteX4" fmla="*/ 0 w 3981961"/>
              <a:gd name="connsiteY4" fmla="*/ 769360 h 6039733"/>
              <a:gd name="connsiteX0" fmla="*/ 0 w 3981961"/>
              <a:gd name="connsiteY0" fmla="*/ 769360 h 6039733"/>
              <a:gd name="connsiteX1" fmla="*/ 3976986 w 3981961"/>
              <a:gd name="connsiteY1" fmla="*/ 0 h 6039733"/>
              <a:gd name="connsiteX2" fmla="*/ 3981961 w 3981961"/>
              <a:gd name="connsiteY2" fmla="*/ 5473393 h 6039733"/>
              <a:gd name="connsiteX3" fmla="*/ 1188008 w 3981961"/>
              <a:gd name="connsiteY3" fmla="*/ 6039733 h 6039733"/>
              <a:gd name="connsiteX4" fmla="*/ 0 w 3981961"/>
              <a:gd name="connsiteY4" fmla="*/ 769360 h 6039733"/>
              <a:gd name="connsiteX0" fmla="*/ 0 w 3981961"/>
              <a:gd name="connsiteY0" fmla="*/ 769360 h 6039733"/>
              <a:gd name="connsiteX1" fmla="*/ 3976986 w 3981961"/>
              <a:gd name="connsiteY1" fmla="*/ 0 h 6039733"/>
              <a:gd name="connsiteX2" fmla="*/ 3981961 w 3981961"/>
              <a:gd name="connsiteY2" fmla="*/ 5473393 h 6039733"/>
              <a:gd name="connsiteX3" fmla="*/ 1188008 w 3981961"/>
              <a:gd name="connsiteY3" fmla="*/ 6039733 h 6039733"/>
              <a:gd name="connsiteX4" fmla="*/ 0 w 3981961"/>
              <a:gd name="connsiteY4" fmla="*/ 769360 h 6039733"/>
              <a:gd name="connsiteX0" fmla="*/ 0 w 3967311"/>
              <a:gd name="connsiteY0" fmla="*/ 838381 h 6039733"/>
              <a:gd name="connsiteX1" fmla="*/ 3962336 w 3967311"/>
              <a:gd name="connsiteY1" fmla="*/ 0 h 6039733"/>
              <a:gd name="connsiteX2" fmla="*/ 3967311 w 3967311"/>
              <a:gd name="connsiteY2" fmla="*/ 5473393 h 6039733"/>
              <a:gd name="connsiteX3" fmla="*/ 1173358 w 3967311"/>
              <a:gd name="connsiteY3" fmla="*/ 6039733 h 6039733"/>
              <a:gd name="connsiteX4" fmla="*/ 0 w 3967311"/>
              <a:gd name="connsiteY4" fmla="*/ 838381 h 6039733"/>
              <a:gd name="connsiteX0" fmla="*/ 0 w 3909798"/>
              <a:gd name="connsiteY0" fmla="*/ 826173 h 6039733"/>
              <a:gd name="connsiteX1" fmla="*/ 3904823 w 3909798"/>
              <a:gd name="connsiteY1" fmla="*/ 0 h 6039733"/>
              <a:gd name="connsiteX2" fmla="*/ 3909798 w 3909798"/>
              <a:gd name="connsiteY2" fmla="*/ 5473393 h 6039733"/>
              <a:gd name="connsiteX3" fmla="*/ 1115845 w 3909798"/>
              <a:gd name="connsiteY3" fmla="*/ 6039733 h 6039733"/>
              <a:gd name="connsiteX4" fmla="*/ 0 w 3909798"/>
              <a:gd name="connsiteY4" fmla="*/ 826173 h 6039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09798" h="6039733">
                <a:moveTo>
                  <a:pt x="0" y="826173"/>
                </a:moveTo>
                <a:lnTo>
                  <a:pt x="3904823" y="0"/>
                </a:lnTo>
                <a:cubicBezTo>
                  <a:pt x="3906481" y="1824464"/>
                  <a:pt x="3908140" y="3648929"/>
                  <a:pt x="3909798" y="5473393"/>
                </a:cubicBezTo>
                <a:lnTo>
                  <a:pt x="1115845" y="6039733"/>
                </a:lnTo>
                <a:cubicBezTo>
                  <a:pt x="724255" y="4265976"/>
                  <a:pt x="4062" y="830808"/>
                  <a:pt x="0" y="826173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51">
              <a:defRPr/>
            </a:pPr>
            <a:endParaRPr lang="en-US" sz="3200" dirty="0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" y="1411758"/>
            <a:ext cx="12191999" cy="5446242"/>
          </a:xfrm>
          <a:prstGeom prst="rect">
            <a:avLst/>
          </a:prstGeom>
          <a:solidFill>
            <a:srgbClr val="E5F2F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96214">
              <a:defRPr/>
            </a:pPr>
            <a:endParaRPr lang="en-US" sz="1765" kern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rst line blue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0" y="1600201"/>
            <a:ext cx="10972800" cy="1837837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5278C-2795-4D0E-AB2D-5ED126775F60}" type="datetimeFigureOut">
              <a:rPr lang="en-IN" smtClean="0"/>
              <a:t>11/09/17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2398409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line blue - bullets sec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0" y="1600201"/>
            <a:ext cx="10972800" cy="1837837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vy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0" y="1600201"/>
            <a:ext cx="10972800" cy="1837837"/>
          </a:xfrm>
        </p:spPr>
        <p:txBody>
          <a:bodyPr>
            <a:spAutoFit/>
          </a:bodyPr>
          <a:lstStyle>
            <a:lvl1pPr marL="290401" indent="-290401">
              <a:buFont typeface="Arial" panose="020B0604020202020204" pitchFamily="34" charset="0"/>
              <a:buChar char="•"/>
              <a:defRPr/>
            </a:lvl1pPr>
            <a:lvl2pPr marL="623648" indent="-285640">
              <a:defRPr/>
            </a:lvl2pPr>
            <a:lvl3pPr marL="1039413" indent="-303097">
              <a:defRPr/>
            </a:lvl3pPr>
            <a:lvl4pPr marL="1432962" indent="-303097">
              <a:defRPr/>
            </a:lvl4pPr>
            <a:lvl5pPr marL="1889987" indent="-303097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/>
          <p:nvPr userDrawn="1"/>
        </p:nvSpPr>
        <p:spPr>
          <a:xfrm rot="719012">
            <a:off x="-661647" y="-617068"/>
            <a:ext cx="5038932" cy="7783983"/>
          </a:xfrm>
          <a:custGeom>
            <a:avLst/>
            <a:gdLst>
              <a:gd name="connsiteX0" fmla="*/ 0 w 7205604"/>
              <a:gd name="connsiteY0" fmla="*/ 0 h 7205604"/>
              <a:gd name="connsiteX1" fmla="*/ 7205604 w 7205604"/>
              <a:gd name="connsiteY1" fmla="*/ 0 h 7205604"/>
              <a:gd name="connsiteX2" fmla="*/ 7205604 w 7205604"/>
              <a:gd name="connsiteY2" fmla="*/ 7205604 h 7205604"/>
              <a:gd name="connsiteX3" fmla="*/ 0 w 7205604"/>
              <a:gd name="connsiteY3" fmla="*/ 7205604 h 7205604"/>
              <a:gd name="connsiteX4" fmla="*/ 0 w 7205604"/>
              <a:gd name="connsiteY4" fmla="*/ 0 h 7205604"/>
              <a:gd name="connsiteX0" fmla="*/ 0 w 7209224"/>
              <a:gd name="connsiteY0" fmla="*/ 1455421 h 7205604"/>
              <a:gd name="connsiteX1" fmla="*/ 7209224 w 7209224"/>
              <a:gd name="connsiteY1" fmla="*/ 0 h 7205604"/>
              <a:gd name="connsiteX2" fmla="*/ 7209224 w 7209224"/>
              <a:gd name="connsiteY2" fmla="*/ 7205604 h 7205604"/>
              <a:gd name="connsiteX3" fmla="*/ 3620 w 7209224"/>
              <a:gd name="connsiteY3" fmla="*/ 7205604 h 7205604"/>
              <a:gd name="connsiteX4" fmla="*/ 0 w 7209224"/>
              <a:gd name="connsiteY4" fmla="*/ 1455421 h 7205604"/>
              <a:gd name="connsiteX0" fmla="*/ 0 w 7209224"/>
              <a:gd name="connsiteY0" fmla="*/ 516632 h 6266815"/>
              <a:gd name="connsiteX1" fmla="*/ 7204133 w 7209224"/>
              <a:gd name="connsiteY1" fmla="*/ 0 h 6266815"/>
              <a:gd name="connsiteX2" fmla="*/ 7209224 w 7209224"/>
              <a:gd name="connsiteY2" fmla="*/ 6266815 h 6266815"/>
              <a:gd name="connsiteX3" fmla="*/ 3620 w 7209224"/>
              <a:gd name="connsiteY3" fmla="*/ 6266815 h 6266815"/>
              <a:gd name="connsiteX4" fmla="*/ 0 w 7209224"/>
              <a:gd name="connsiteY4" fmla="*/ 516632 h 6266815"/>
              <a:gd name="connsiteX0" fmla="*/ 0 w 7209108"/>
              <a:gd name="connsiteY0" fmla="*/ 516632 h 6266815"/>
              <a:gd name="connsiteX1" fmla="*/ 7204133 w 7209108"/>
              <a:gd name="connsiteY1" fmla="*/ 0 h 6266815"/>
              <a:gd name="connsiteX2" fmla="*/ 7209108 w 7209108"/>
              <a:gd name="connsiteY2" fmla="*/ 5473393 h 6266815"/>
              <a:gd name="connsiteX3" fmla="*/ 3620 w 7209108"/>
              <a:gd name="connsiteY3" fmla="*/ 6266815 h 6266815"/>
              <a:gd name="connsiteX4" fmla="*/ 0 w 7209108"/>
              <a:gd name="connsiteY4" fmla="*/ 516632 h 6266815"/>
              <a:gd name="connsiteX0" fmla="*/ 0 w 7209108"/>
              <a:gd name="connsiteY0" fmla="*/ 516632 h 6039733"/>
              <a:gd name="connsiteX1" fmla="*/ 7204133 w 7209108"/>
              <a:gd name="connsiteY1" fmla="*/ 0 h 6039733"/>
              <a:gd name="connsiteX2" fmla="*/ 7209108 w 7209108"/>
              <a:gd name="connsiteY2" fmla="*/ 5473393 h 6039733"/>
              <a:gd name="connsiteX3" fmla="*/ 4415155 w 7209108"/>
              <a:gd name="connsiteY3" fmla="*/ 6039733 h 6039733"/>
              <a:gd name="connsiteX4" fmla="*/ 0 w 7209108"/>
              <a:gd name="connsiteY4" fmla="*/ 516632 h 6039733"/>
              <a:gd name="connsiteX0" fmla="*/ 0 w 3981961"/>
              <a:gd name="connsiteY0" fmla="*/ 769360 h 6039733"/>
              <a:gd name="connsiteX1" fmla="*/ 3976986 w 3981961"/>
              <a:gd name="connsiteY1" fmla="*/ 0 h 6039733"/>
              <a:gd name="connsiteX2" fmla="*/ 3981961 w 3981961"/>
              <a:gd name="connsiteY2" fmla="*/ 5473393 h 6039733"/>
              <a:gd name="connsiteX3" fmla="*/ 1188008 w 3981961"/>
              <a:gd name="connsiteY3" fmla="*/ 6039733 h 6039733"/>
              <a:gd name="connsiteX4" fmla="*/ 0 w 3981961"/>
              <a:gd name="connsiteY4" fmla="*/ 769360 h 6039733"/>
              <a:gd name="connsiteX0" fmla="*/ 0 w 3981961"/>
              <a:gd name="connsiteY0" fmla="*/ 769360 h 6039733"/>
              <a:gd name="connsiteX1" fmla="*/ 3976986 w 3981961"/>
              <a:gd name="connsiteY1" fmla="*/ 0 h 6039733"/>
              <a:gd name="connsiteX2" fmla="*/ 3981961 w 3981961"/>
              <a:gd name="connsiteY2" fmla="*/ 5473393 h 6039733"/>
              <a:gd name="connsiteX3" fmla="*/ 1188008 w 3981961"/>
              <a:gd name="connsiteY3" fmla="*/ 6039733 h 6039733"/>
              <a:gd name="connsiteX4" fmla="*/ 0 w 3981961"/>
              <a:gd name="connsiteY4" fmla="*/ 769360 h 6039733"/>
              <a:gd name="connsiteX0" fmla="*/ 0 w 3981961"/>
              <a:gd name="connsiteY0" fmla="*/ 769360 h 6039733"/>
              <a:gd name="connsiteX1" fmla="*/ 3976986 w 3981961"/>
              <a:gd name="connsiteY1" fmla="*/ 0 h 6039733"/>
              <a:gd name="connsiteX2" fmla="*/ 3981961 w 3981961"/>
              <a:gd name="connsiteY2" fmla="*/ 5473393 h 6039733"/>
              <a:gd name="connsiteX3" fmla="*/ 1188008 w 3981961"/>
              <a:gd name="connsiteY3" fmla="*/ 6039733 h 6039733"/>
              <a:gd name="connsiteX4" fmla="*/ 0 w 3981961"/>
              <a:gd name="connsiteY4" fmla="*/ 769360 h 6039733"/>
              <a:gd name="connsiteX0" fmla="*/ 0 w 3967311"/>
              <a:gd name="connsiteY0" fmla="*/ 838381 h 6039733"/>
              <a:gd name="connsiteX1" fmla="*/ 3962336 w 3967311"/>
              <a:gd name="connsiteY1" fmla="*/ 0 h 6039733"/>
              <a:gd name="connsiteX2" fmla="*/ 3967311 w 3967311"/>
              <a:gd name="connsiteY2" fmla="*/ 5473393 h 6039733"/>
              <a:gd name="connsiteX3" fmla="*/ 1173358 w 3967311"/>
              <a:gd name="connsiteY3" fmla="*/ 6039733 h 6039733"/>
              <a:gd name="connsiteX4" fmla="*/ 0 w 3967311"/>
              <a:gd name="connsiteY4" fmla="*/ 838381 h 6039733"/>
              <a:gd name="connsiteX0" fmla="*/ 0 w 3909798"/>
              <a:gd name="connsiteY0" fmla="*/ 826173 h 6039733"/>
              <a:gd name="connsiteX1" fmla="*/ 3904823 w 3909798"/>
              <a:gd name="connsiteY1" fmla="*/ 0 h 6039733"/>
              <a:gd name="connsiteX2" fmla="*/ 3909798 w 3909798"/>
              <a:gd name="connsiteY2" fmla="*/ 5473393 h 6039733"/>
              <a:gd name="connsiteX3" fmla="*/ 1115845 w 3909798"/>
              <a:gd name="connsiteY3" fmla="*/ 6039733 h 6039733"/>
              <a:gd name="connsiteX4" fmla="*/ 0 w 3909798"/>
              <a:gd name="connsiteY4" fmla="*/ 826173 h 6039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09798" h="6039733">
                <a:moveTo>
                  <a:pt x="0" y="826173"/>
                </a:moveTo>
                <a:lnTo>
                  <a:pt x="3904823" y="0"/>
                </a:lnTo>
                <a:cubicBezTo>
                  <a:pt x="3906481" y="1824464"/>
                  <a:pt x="3908140" y="3648929"/>
                  <a:pt x="3909798" y="5473393"/>
                </a:cubicBezTo>
                <a:lnTo>
                  <a:pt x="1115845" y="6039733"/>
                </a:lnTo>
                <a:cubicBezTo>
                  <a:pt x="724255" y="4265976"/>
                  <a:pt x="4062" y="830808"/>
                  <a:pt x="0" y="826173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51">
              <a:defRPr/>
            </a:pPr>
            <a:endParaRPr lang="en-US" sz="3200" dirty="0">
              <a:solidFill>
                <a:srgbClr val="FFFFFF"/>
              </a:solidFill>
            </a:endParaRPr>
          </a:p>
        </p:txBody>
      </p:sp>
      <p:pic>
        <p:nvPicPr>
          <p:cNvPr id="3" name="Picture 2" descr="MSFT_logo_rgb_C-Gray_D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28" t="20874" r="6769" b="11620"/>
          <a:stretch/>
        </p:blipFill>
        <p:spPr>
          <a:xfrm>
            <a:off x="5926095" y="2978574"/>
            <a:ext cx="3157001" cy="9008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2" y="3971368"/>
            <a:ext cx="5271655" cy="584775"/>
          </a:xfrm>
        </p:spPr>
        <p:txBody>
          <a:bodyPr/>
          <a:lstStyle>
            <a:lvl1pPr>
              <a:defRPr sz="3200" baseline="0"/>
            </a:lvl1pPr>
          </a:lstStyle>
          <a:p>
            <a:r>
              <a:rPr lang="en-US" dirty="0"/>
              <a:t>Email address</a:t>
            </a:r>
          </a:p>
        </p:txBody>
      </p:sp>
    </p:spTree>
    <p:extLst/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40pt Header &amp; 24pt Titl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09351"/>
            <a:endParaRPr lang="en-US" sz="2400" dirty="0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1217516"/>
            <a:endParaRPr lang="en-US" sz="2400" dirty="0">
              <a:solidFill>
                <a:srgbClr val="505050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269239" y="1218283"/>
            <a:ext cx="4930336" cy="1656415"/>
          </a:xfrm>
        </p:spPr>
        <p:txBody>
          <a:bodyPr lIns="146304" tIns="91440" rIns="146304" bIns="91440"/>
          <a:lstStyle>
            <a:lvl1pPr marL="0" indent="0">
              <a:lnSpc>
                <a:spcPts val="2843"/>
              </a:lnSpc>
              <a:spcBef>
                <a:spcPts val="0"/>
              </a:spcBef>
              <a:spcAft>
                <a:spcPts val="2353"/>
              </a:spcAft>
              <a:buNone/>
              <a:defRPr lang="en-US" sz="2353" kern="1200" spc="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35951" indent="0">
              <a:buNone/>
              <a:defRPr/>
            </a:lvl2pPr>
            <a:lvl3pPr marL="559920" indent="0">
              <a:buNone/>
              <a:defRPr/>
            </a:lvl3pPr>
            <a:lvl4pPr marL="783885" indent="0">
              <a:buNone/>
              <a:defRPr/>
            </a:lvl4pPr>
            <a:lvl5pPr marL="1007853" indent="0">
              <a:buNone/>
              <a:defRPr/>
            </a:lvl5pPr>
          </a:lstStyle>
          <a:p>
            <a:pPr marL="0" marR="0" lvl="0" indent="0" algn="l" defTabSz="91384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  <a:p>
            <a:pPr marL="0" marR="0" lvl="1" indent="0" algn="l" defTabSz="91384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Second level</a:t>
            </a:r>
          </a:p>
          <a:p>
            <a:pPr marL="0" marR="0" lvl="2" indent="0" algn="l" defTabSz="91384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Third level</a:t>
            </a:r>
          </a:p>
          <a:p>
            <a:pPr marL="0" marR="0" lvl="3" indent="0" algn="l" defTabSz="91384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ourth level</a:t>
            </a:r>
          </a:p>
          <a:p>
            <a:pPr marL="0" marR="0" lvl="4" indent="0" algn="l" defTabSz="91384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65990"/>
            <a:ext cx="11653523" cy="968727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3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63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307858"/>
            <a:ext cx="11097925" cy="979755"/>
          </a:xfrm>
        </p:spPr>
        <p:txBody>
          <a:bodyPr lIns="146304" tIns="91440" rIns="146304" bIns="91440"/>
          <a:lstStyle>
            <a:lvl1pPr>
              <a:lnSpc>
                <a:spcPts val="6173"/>
              </a:lnSpc>
              <a:defRPr sz="5683" baseline="0">
                <a:solidFill>
                  <a:schemeClr val="accent1"/>
                </a:solidFill>
              </a:defRPr>
            </a:lvl1pPr>
          </a:lstStyle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351"/>
            <a:endParaRPr lang="en-US" sz="2400">
              <a:solidFill>
                <a:srgbClr val="50505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217516"/>
            <a:fld id="{27258FFF-F925-446B-8502-81C933981705}" type="slidenum">
              <a:rPr lang="en-US" sz="2400" smtClean="0">
                <a:solidFill>
                  <a:srgbClr val="505050"/>
                </a:solidFill>
              </a:rPr>
              <a:pPr defTabSz="1217516"/>
              <a:t>‹#›</a:t>
            </a:fld>
            <a:endParaRPr lang="en-US" sz="2400">
              <a:solidFill>
                <a:srgbClr val="505050"/>
              </a:solidFill>
            </a:endParaRPr>
          </a:p>
        </p:txBody>
      </p:sp>
    </p:spTree>
    <p:extLst/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225"/>
            <a:r>
              <a:rPr lang="en-US" smtClean="0">
                <a:solidFill>
                  <a:srgbClr val="505050"/>
                </a:solidFill>
              </a:rPr>
              <a:t>Microsoft Confidential</a:t>
            </a:r>
            <a:endParaRPr lang="en-US">
              <a:solidFill>
                <a:srgbClr val="50505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225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914225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3712" y="259792"/>
            <a:ext cx="11005512" cy="1075884"/>
          </a:xfrm>
        </p:spPr>
        <p:txBody>
          <a:bodyPr lIns="0" tIns="91440" rIns="146304" bIns="91440"/>
          <a:lstStyle>
            <a:lvl1pPr>
              <a:lnSpc>
                <a:spcPts val="4802"/>
              </a:lnSpc>
              <a:defRPr sz="4312" baseline="0">
                <a:solidFill>
                  <a:schemeClr val="tx2"/>
                </a:solidFill>
              </a:defRPr>
            </a:lvl1pPr>
          </a:lstStyle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</p:txBody>
      </p:sp>
    </p:spTree>
    <p:extLst/>
  </p:cSld>
  <p:clrMapOvr>
    <a:masterClrMapping/>
  </p:clrMapOvr>
  <p:transition spd="slow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Generic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39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30" Type="http://schemas.openxmlformats.org/officeDocument/2006/relationships/slideLayout" Target="../slideLayouts/slideLayout41.xml"/><Relationship Id="rId31" Type="http://schemas.openxmlformats.org/officeDocument/2006/relationships/slideLayout" Target="../slideLayouts/slideLayout42.xml"/><Relationship Id="rId32" Type="http://schemas.openxmlformats.org/officeDocument/2006/relationships/slideLayout" Target="../slideLayouts/slideLayout43.xml"/><Relationship Id="rId9" Type="http://schemas.openxmlformats.org/officeDocument/2006/relationships/slideLayout" Target="../slideLayouts/slideLayout20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33" Type="http://schemas.openxmlformats.org/officeDocument/2006/relationships/slideLayout" Target="../slideLayouts/slideLayout44.xml"/><Relationship Id="rId34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46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0.xml"/><Relationship Id="rId37" Type="http://schemas.openxmlformats.org/officeDocument/2006/relationships/slideLayout" Target="../slideLayouts/slideLayout48.xml"/><Relationship Id="rId38" Type="http://schemas.openxmlformats.org/officeDocument/2006/relationships/slideLayout" Target="../slideLayouts/slideLayout49.xml"/><Relationship Id="rId39" Type="http://schemas.openxmlformats.org/officeDocument/2006/relationships/slideLayout" Target="../slideLayouts/slideLayout50.xml"/><Relationship Id="rId40" Type="http://schemas.openxmlformats.org/officeDocument/2006/relationships/slideLayout" Target="../slideLayouts/slideLayout51.xml"/><Relationship Id="rId4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67.xml"/><Relationship Id="rId17" Type="http://schemas.openxmlformats.org/officeDocument/2006/relationships/theme" Target="../theme/theme3.xml"/><Relationship Id="rId18" Type="http://schemas.openxmlformats.org/officeDocument/2006/relationships/image" Target="../media/image18.png"/><Relationship Id="rId1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3.xml"/><Relationship Id="rId3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5.xml"/><Relationship Id="rId5" Type="http://schemas.openxmlformats.org/officeDocument/2006/relationships/slideLayout" Target="../slideLayouts/slideLayout56.xml"/><Relationship Id="rId6" Type="http://schemas.openxmlformats.org/officeDocument/2006/relationships/slideLayout" Target="../slideLayouts/slideLayout57.xml"/><Relationship Id="rId7" Type="http://schemas.openxmlformats.org/officeDocument/2006/relationships/slideLayout" Target="../slideLayouts/slideLayout58.xml"/><Relationship Id="rId8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1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87.xml"/><Relationship Id="rId21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0.xml"/><Relationship Id="rId24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93.xml"/><Relationship Id="rId27" Type="http://schemas.openxmlformats.org/officeDocument/2006/relationships/slideLayout" Target="../slideLayouts/slideLayout94.xml"/><Relationship Id="rId28" Type="http://schemas.openxmlformats.org/officeDocument/2006/relationships/slideLayout" Target="../slideLayouts/slideLayout95.xml"/><Relationship Id="rId29" Type="http://schemas.openxmlformats.org/officeDocument/2006/relationships/slideLayout" Target="../slideLayouts/slideLayout96.xml"/><Relationship Id="rId1" Type="http://schemas.openxmlformats.org/officeDocument/2006/relationships/slideLayout" Target="../slideLayouts/slideLayout68.xml"/><Relationship Id="rId2" Type="http://schemas.openxmlformats.org/officeDocument/2006/relationships/slideLayout" Target="../slideLayouts/slideLayout69.xml"/><Relationship Id="rId3" Type="http://schemas.openxmlformats.org/officeDocument/2006/relationships/slideLayout" Target="../slideLayouts/slideLayout70.xml"/><Relationship Id="rId4" Type="http://schemas.openxmlformats.org/officeDocument/2006/relationships/slideLayout" Target="../slideLayouts/slideLayout71.xml"/><Relationship Id="rId5" Type="http://schemas.openxmlformats.org/officeDocument/2006/relationships/slideLayout" Target="../slideLayouts/slideLayout72.xml"/><Relationship Id="rId30" Type="http://schemas.openxmlformats.org/officeDocument/2006/relationships/slideLayout" Target="../slideLayouts/slideLayout97.xml"/><Relationship Id="rId31" Type="http://schemas.openxmlformats.org/officeDocument/2006/relationships/slideLayout" Target="../slideLayouts/slideLayout98.xml"/><Relationship Id="rId32" Type="http://schemas.openxmlformats.org/officeDocument/2006/relationships/theme" Target="../theme/theme4.xml"/><Relationship Id="rId9" Type="http://schemas.openxmlformats.org/officeDocument/2006/relationships/slideLayout" Target="../slideLayouts/slideLayout76.xml"/><Relationship Id="rId6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4.xml"/><Relationship Id="rId8" Type="http://schemas.openxmlformats.org/officeDocument/2006/relationships/slideLayout" Target="../slideLayouts/slideLayout75.xml"/><Relationship Id="rId33" Type="http://schemas.openxmlformats.org/officeDocument/2006/relationships/image" Target="../media/image26.png"/><Relationship Id="rId34" Type="http://schemas.openxmlformats.org/officeDocument/2006/relationships/image" Target="../media/image27.png"/><Relationship Id="rId10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86.xml"/></Relationships>
</file>

<file path=ppt/slideMasters/_rels/slideMaster5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118.xml"/><Relationship Id="rId21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1.xml"/><Relationship Id="rId24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24.xml"/><Relationship Id="rId27" Type="http://schemas.openxmlformats.org/officeDocument/2006/relationships/slideLayout" Target="../slideLayouts/slideLayout125.xml"/><Relationship Id="rId28" Type="http://schemas.openxmlformats.org/officeDocument/2006/relationships/slideLayout" Target="../slideLayouts/slideLayout126.xml"/><Relationship Id="rId29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99.xml"/><Relationship Id="rId2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103.xml"/><Relationship Id="rId30" Type="http://schemas.openxmlformats.org/officeDocument/2006/relationships/slideLayout" Target="../slideLayouts/slideLayout128.xml"/><Relationship Id="rId31" Type="http://schemas.openxmlformats.org/officeDocument/2006/relationships/slideLayout" Target="../slideLayouts/slideLayout129.xml"/><Relationship Id="rId32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106.xml"/><Relationship Id="rId33" Type="http://schemas.openxmlformats.org/officeDocument/2006/relationships/slideLayout" Target="../slideLayouts/slideLayout131.xml"/><Relationship Id="rId34" Type="http://schemas.openxmlformats.org/officeDocument/2006/relationships/slideLayout" Target="../slideLayouts/slideLayout132.xml"/><Relationship Id="rId35" Type="http://schemas.openxmlformats.org/officeDocument/2006/relationships/slideLayout" Target="../slideLayouts/slideLayout133.xml"/><Relationship Id="rId36" Type="http://schemas.openxmlformats.org/officeDocument/2006/relationships/slideLayout" Target="../slideLayouts/slideLayout134.xml"/><Relationship Id="rId10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2.xml"/><Relationship Id="rId15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16.xml"/><Relationship Id="rId19" Type="http://schemas.openxmlformats.org/officeDocument/2006/relationships/slideLayout" Target="../slideLayouts/slideLayout117.xml"/><Relationship Id="rId37" Type="http://schemas.openxmlformats.org/officeDocument/2006/relationships/slideLayout" Target="../slideLayouts/slideLayout135.xml"/><Relationship Id="rId38" Type="http://schemas.openxmlformats.org/officeDocument/2006/relationships/slideLayout" Target="../slideLayouts/slideLayout136.xml"/><Relationship Id="rId39" Type="http://schemas.openxmlformats.org/officeDocument/2006/relationships/slideLayout" Target="../slideLayouts/slideLayout137.xml"/><Relationship Id="rId40" Type="http://schemas.openxmlformats.org/officeDocument/2006/relationships/slideLayout" Target="../slideLayouts/slideLayout138.xml"/><Relationship Id="rId41" Type="http://schemas.openxmlformats.org/officeDocument/2006/relationships/slideLayout" Target="../slideLayouts/slideLayout139.xml"/><Relationship Id="rId42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159.xml"/><Relationship Id="rId21" Type="http://schemas.openxmlformats.org/officeDocument/2006/relationships/slideLayout" Target="../slideLayouts/slideLayout160.xml"/><Relationship Id="rId22" Type="http://schemas.openxmlformats.org/officeDocument/2006/relationships/slideLayout" Target="../slideLayouts/slideLayout161.xml"/><Relationship Id="rId23" Type="http://schemas.openxmlformats.org/officeDocument/2006/relationships/slideLayout" Target="../slideLayouts/slideLayout162.xml"/><Relationship Id="rId24" Type="http://schemas.openxmlformats.org/officeDocument/2006/relationships/slideLayout" Target="../slideLayouts/slideLayout163.xml"/><Relationship Id="rId25" Type="http://schemas.openxmlformats.org/officeDocument/2006/relationships/slideLayout" Target="../slideLayouts/slideLayout164.xml"/><Relationship Id="rId26" Type="http://schemas.openxmlformats.org/officeDocument/2006/relationships/slideLayout" Target="../slideLayouts/slideLayout165.xml"/><Relationship Id="rId27" Type="http://schemas.openxmlformats.org/officeDocument/2006/relationships/slideLayout" Target="../slideLayouts/slideLayout166.xml"/><Relationship Id="rId28" Type="http://schemas.openxmlformats.org/officeDocument/2006/relationships/slideLayout" Target="../slideLayouts/slideLayout167.xml"/><Relationship Id="rId29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41.xml"/><Relationship Id="rId3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44.xml"/><Relationship Id="rId30" Type="http://schemas.openxmlformats.org/officeDocument/2006/relationships/slideLayout" Target="../slideLayouts/slideLayout169.xml"/><Relationship Id="rId31" Type="http://schemas.openxmlformats.org/officeDocument/2006/relationships/slideLayout" Target="../slideLayouts/slideLayout170.xml"/><Relationship Id="rId32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46.xml"/><Relationship Id="rId8" Type="http://schemas.openxmlformats.org/officeDocument/2006/relationships/slideLayout" Target="../slideLayouts/slideLayout147.xml"/><Relationship Id="rId33" Type="http://schemas.openxmlformats.org/officeDocument/2006/relationships/slideLayout" Target="../slideLayouts/slideLayout172.xml"/><Relationship Id="rId34" Type="http://schemas.openxmlformats.org/officeDocument/2006/relationships/slideLayout" Target="../slideLayouts/slideLayout173.xml"/><Relationship Id="rId35" Type="http://schemas.openxmlformats.org/officeDocument/2006/relationships/slideLayout" Target="../slideLayouts/slideLayout174.xml"/><Relationship Id="rId36" Type="http://schemas.openxmlformats.org/officeDocument/2006/relationships/slideLayout" Target="../slideLayouts/slideLayout175.xml"/><Relationship Id="rId10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0.xml"/><Relationship Id="rId12" Type="http://schemas.openxmlformats.org/officeDocument/2006/relationships/slideLayout" Target="../slideLayouts/slideLayout151.xml"/><Relationship Id="rId13" Type="http://schemas.openxmlformats.org/officeDocument/2006/relationships/slideLayout" Target="../slideLayouts/slideLayout152.xml"/><Relationship Id="rId14" Type="http://schemas.openxmlformats.org/officeDocument/2006/relationships/slideLayout" Target="../slideLayouts/slideLayout153.xml"/><Relationship Id="rId15" Type="http://schemas.openxmlformats.org/officeDocument/2006/relationships/slideLayout" Target="../slideLayouts/slideLayout154.xml"/><Relationship Id="rId16" Type="http://schemas.openxmlformats.org/officeDocument/2006/relationships/slideLayout" Target="../slideLayouts/slideLayout155.xml"/><Relationship Id="rId17" Type="http://schemas.openxmlformats.org/officeDocument/2006/relationships/slideLayout" Target="../slideLayouts/slideLayout156.xml"/><Relationship Id="rId18" Type="http://schemas.openxmlformats.org/officeDocument/2006/relationships/slideLayout" Target="../slideLayouts/slideLayout157.xml"/><Relationship Id="rId19" Type="http://schemas.openxmlformats.org/officeDocument/2006/relationships/slideLayout" Target="../slideLayouts/slideLayout158.xml"/><Relationship Id="rId37" Type="http://schemas.openxmlformats.org/officeDocument/2006/relationships/slideLayout" Target="../slideLayouts/slideLayout176.xml"/><Relationship Id="rId38" Type="http://schemas.openxmlformats.org/officeDocument/2006/relationships/slideLayout" Target="../slideLayouts/slideLayout177.xml"/><Relationship Id="rId39" Type="http://schemas.openxmlformats.org/officeDocument/2006/relationships/slideLayout" Target="../slideLayouts/slideLayout178.xml"/><Relationship Id="rId40" Type="http://schemas.openxmlformats.org/officeDocument/2006/relationships/slideLayout" Target="../slideLayouts/slideLayout179.xml"/><Relationship Id="rId4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90.xml"/><Relationship Id="rId12" Type="http://schemas.openxmlformats.org/officeDocument/2006/relationships/slideLayout" Target="../slideLayouts/slideLayout191.xml"/><Relationship Id="rId13" Type="http://schemas.openxmlformats.org/officeDocument/2006/relationships/slideLayout" Target="../slideLayouts/slideLayout192.xml"/><Relationship Id="rId14" Type="http://schemas.openxmlformats.org/officeDocument/2006/relationships/slideLayout" Target="../slideLayouts/slideLayout193.xml"/><Relationship Id="rId15" Type="http://schemas.openxmlformats.org/officeDocument/2006/relationships/theme" Target="../theme/theme7.xml"/><Relationship Id="rId1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81.xml"/><Relationship Id="rId3" Type="http://schemas.openxmlformats.org/officeDocument/2006/relationships/slideLayout" Target="../slideLayouts/slideLayout182.xml"/><Relationship Id="rId4" Type="http://schemas.openxmlformats.org/officeDocument/2006/relationships/slideLayout" Target="../slideLayouts/slideLayout183.xml"/><Relationship Id="rId5" Type="http://schemas.openxmlformats.org/officeDocument/2006/relationships/slideLayout" Target="../slideLayouts/slideLayout184.xml"/><Relationship Id="rId6" Type="http://schemas.openxmlformats.org/officeDocument/2006/relationships/slideLayout" Target="../slideLayouts/slideLayout185.xml"/><Relationship Id="rId7" Type="http://schemas.openxmlformats.org/officeDocument/2006/relationships/slideLayout" Target="../slideLayouts/slideLayout186.xml"/><Relationship Id="rId8" Type="http://schemas.openxmlformats.org/officeDocument/2006/relationships/slideLayout" Target="../slideLayouts/slideLayout187.xml"/><Relationship Id="rId9" Type="http://schemas.openxmlformats.org/officeDocument/2006/relationships/slideLayout" Target="../slideLayouts/slideLayout188.xml"/><Relationship Id="rId10" Type="http://schemas.openxmlformats.org/officeDocument/2006/relationships/slideLayout" Target="../slideLayouts/slideLayout189.xml"/></Relationships>
</file>

<file path=ppt/slideMasters/_rels/slideMaster8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13.xml"/><Relationship Id="rId21" Type="http://schemas.openxmlformats.org/officeDocument/2006/relationships/slideLayout" Target="../slideLayouts/slideLayout214.xml"/><Relationship Id="rId22" Type="http://schemas.openxmlformats.org/officeDocument/2006/relationships/slideLayout" Target="../slideLayouts/slideLayout215.xml"/><Relationship Id="rId23" Type="http://schemas.openxmlformats.org/officeDocument/2006/relationships/slideLayout" Target="../slideLayouts/slideLayout216.xml"/><Relationship Id="rId24" Type="http://schemas.openxmlformats.org/officeDocument/2006/relationships/slideLayout" Target="../slideLayouts/slideLayout217.xml"/><Relationship Id="rId25" Type="http://schemas.openxmlformats.org/officeDocument/2006/relationships/slideLayout" Target="../slideLayouts/slideLayout218.xml"/><Relationship Id="rId26" Type="http://schemas.openxmlformats.org/officeDocument/2006/relationships/slideLayout" Target="../slideLayouts/slideLayout219.xml"/><Relationship Id="rId27" Type="http://schemas.openxmlformats.org/officeDocument/2006/relationships/slideLayout" Target="../slideLayouts/slideLayout220.xml"/><Relationship Id="rId28" Type="http://schemas.openxmlformats.org/officeDocument/2006/relationships/slideLayout" Target="../slideLayouts/slideLayout221.xml"/><Relationship Id="rId29" Type="http://schemas.openxmlformats.org/officeDocument/2006/relationships/slideLayout" Target="../slideLayouts/slideLayout222.xml"/><Relationship Id="rId1" Type="http://schemas.openxmlformats.org/officeDocument/2006/relationships/slideLayout" Target="../slideLayouts/slideLayout194.xml"/><Relationship Id="rId2" Type="http://schemas.openxmlformats.org/officeDocument/2006/relationships/slideLayout" Target="../slideLayouts/slideLayout195.xml"/><Relationship Id="rId3" Type="http://schemas.openxmlformats.org/officeDocument/2006/relationships/slideLayout" Target="../slideLayouts/slideLayout196.xml"/><Relationship Id="rId4" Type="http://schemas.openxmlformats.org/officeDocument/2006/relationships/slideLayout" Target="../slideLayouts/slideLayout197.xml"/><Relationship Id="rId5" Type="http://schemas.openxmlformats.org/officeDocument/2006/relationships/slideLayout" Target="../slideLayouts/slideLayout198.xml"/><Relationship Id="rId30" Type="http://schemas.openxmlformats.org/officeDocument/2006/relationships/slideLayout" Target="../slideLayouts/slideLayout223.xml"/><Relationship Id="rId31" Type="http://schemas.openxmlformats.org/officeDocument/2006/relationships/slideLayout" Target="../slideLayouts/slideLayout224.xml"/><Relationship Id="rId32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02.xml"/><Relationship Id="rId6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200.xml"/><Relationship Id="rId8" Type="http://schemas.openxmlformats.org/officeDocument/2006/relationships/slideLayout" Target="../slideLayouts/slideLayout201.xml"/><Relationship Id="rId33" Type="http://schemas.openxmlformats.org/officeDocument/2006/relationships/slideLayout" Target="../slideLayouts/slideLayout226.xml"/><Relationship Id="rId34" Type="http://schemas.openxmlformats.org/officeDocument/2006/relationships/slideLayout" Target="../slideLayouts/slideLayout227.xml"/><Relationship Id="rId35" Type="http://schemas.openxmlformats.org/officeDocument/2006/relationships/slideLayout" Target="../slideLayouts/slideLayout228.xml"/><Relationship Id="rId36" Type="http://schemas.openxmlformats.org/officeDocument/2006/relationships/slideLayout" Target="../slideLayouts/slideLayout229.xml"/><Relationship Id="rId10" Type="http://schemas.openxmlformats.org/officeDocument/2006/relationships/slideLayout" Target="../slideLayouts/slideLayout203.xml"/><Relationship Id="rId11" Type="http://schemas.openxmlformats.org/officeDocument/2006/relationships/slideLayout" Target="../slideLayouts/slideLayout204.xml"/><Relationship Id="rId12" Type="http://schemas.openxmlformats.org/officeDocument/2006/relationships/slideLayout" Target="../slideLayouts/slideLayout205.xml"/><Relationship Id="rId13" Type="http://schemas.openxmlformats.org/officeDocument/2006/relationships/slideLayout" Target="../slideLayouts/slideLayout206.xml"/><Relationship Id="rId14" Type="http://schemas.openxmlformats.org/officeDocument/2006/relationships/slideLayout" Target="../slideLayouts/slideLayout207.xml"/><Relationship Id="rId15" Type="http://schemas.openxmlformats.org/officeDocument/2006/relationships/slideLayout" Target="../slideLayouts/slideLayout208.xml"/><Relationship Id="rId16" Type="http://schemas.openxmlformats.org/officeDocument/2006/relationships/slideLayout" Target="../slideLayouts/slideLayout209.xml"/><Relationship Id="rId17" Type="http://schemas.openxmlformats.org/officeDocument/2006/relationships/slideLayout" Target="../slideLayouts/slideLayout210.xml"/><Relationship Id="rId18" Type="http://schemas.openxmlformats.org/officeDocument/2006/relationships/slideLayout" Target="../slideLayouts/slideLayout211.xml"/><Relationship Id="rId19" Type="http://schemas.openxmlformats.org/officeDocument/2006/relationships/slideLayout" Target="../slideLayouts/slideLayout212.xml"/><Relationship Id="rId37" Type="http://schemas.openxmlformats.org/officeDocument/2006/relationships/slideLayout" Target="../slideLayouts/slideLayout230.xml"/><Relationship Id="rId38" Type="http://schemas.openxmlformats.org/officeDocument/2006/relationships/slideLayout" Target="../slideLayouts/slideLayout231.xml"/><Relationship Id="rId39" Type="http://schemas.openxmlformats.org/officeDocument/2006/relationships/slideLayout" Target="../slideLayouts/slideLayout232.xml"/><Relationship Id="rId40" Type="http://schemas.openxmlformats.org/officeDocument/2006/relationships/slideLayout" Target="../slideLayouts/slideLayout233.xml"/><Relationship Id="rId41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53.xml"/><Relationship Id="rId21" Type="http://schemas.openxmlformats.org/officeDocument/2006/relationships/slideLayout" Target="../slideLayouts/slideLayout254.xml"/><Relationship Id="rId22" Type="http://schemas.openxmlformats.org/officeDocument/2006/relationships/slideLayout" Target="../slideLayouts/slideLayout255.xml"/><Relationship Id="rId23" Type="http://schemas.openxmlformats.org/officeDocument/2006/relationships/slideLayout" Target="../slideLayouts/slideLayout256.xml"/><Relationship Id="rId24" Type="http://schemas.openxmlformats.org/officeDocument/2006/relationships/slideLayout" Target="../slideLayouts/slideLayout257.xml"/><Relationship Id="rId25" Type="http://schemas.openxmlformats.org/officeDocument/2006/relationships/slideLayout" Target="../slideLayouts/slideLayout258.xml"/><Relationship Id="rId26" Type="http://schemas.openxmlformats.org/officeDocument/2006/relationships/slideLayout" Target="../slideLayouts/slideLayout259.xml"/><Relationship Id="rId27" Type="http://schemas.openxmlformats.org/officeDocument/2006/relationships/slideLayout" Target="../slideLayouts/slideLayout260.xml"/><Relationship Id="rId28" Type="http://schemas.openxmlformats.org/officeDocument/2006/relationships/slideLayout" Target="../slideLayouts/slideLayout261.xml"/><Relationship Id="rId29" Type="http://schemas.openxmlformats.org/officeDocument/2006/relationships/slideLayout" Target="../slideLayouts/slideLayout262.xml"/><Relationship Id="rId1" Type="http://schemas.openxmlformats.org/officeDocument/2006/relationships/slideLayout" Target="../slideLayouts/slideLayout234.xml"/><Relationship Id="rId2" Type="http://schemas.openxmlformats.org/officeDocument/2006/relationships/slideLayout" Target="../slideLayouts/slideLayout235.xml"/><Relationship Id="rId3" Type="http://schemas.openxmlformats.org/officeDocument/2006/relationships/slideLayout" Target="../slideLayouts/slideLayout236.xml"/><Relationship Id="rId4" Type="http://schemas.openxmlformats.org/officeDocument/2006/relationships/slideLayout" Target="../slideLayouts/slideLayout237.xml"/><Relationship Id="rId5" Type="http://schemas.openxmlformats.org/officeDocument/2006/relationships/slideLayout" Target="../slideLayouts/slideLayout238.xml"/><Relationship Id="rId30" Type="http://schemas.openxmlformats.org/officeDocument/2006/relationships/slideLayout" Target="../slideLayouts/slideLayout263.xml"/><Relationship Id="rId31" Type="http://schemas.openxmlformats.org/officeDocument/2006/relationships/slideLayout" Target="../slideLayouts/slideLayout264.xml"/><Relationship Id="rId32" Type="http://schemas.openxmlformats.org/officeDocument/2006/relationships/slideLayout" Target="../slideLayouts/slideLayout265.xml"/><Relationship Id="rId9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39.xml"/><Relationship Id="rId7" Type="http://schemas.openxmlformats.org/officeDocument/2006/relationships/slideLayout" Target="../slideLayouts/slideLayout240.xml"/><Relationship Id="rId8" Type="http://schemas.openxmlformats.org/officeDocument/2006/relationships/slideLayout" Target="../slideLayouts/slideLayout241.xml"/><Relationship Id="rId33" Type="http://schemas.openxmlformats.org/officeDocument/2006/relationships/slideLayout" Target="../slideLayouts/slideLayout266.xml"/><Relationship Id="rId34" Type="http://schemas.openxmlformats.org/officeDocument/2006/relationships/slideLayout" Target="../slideLayouts/slideLayout267.xml"/><Relationship Id="rId35" Type="http://schemas.openxmlformats.org/officeDocument/2006/relationships/slideLayout" Target="../slideLayouts/slideLayout268.xml"/><Relationship Id="rId36" Type="http://schemas.openxmlformats.org/officeDocument/2006/relationships/slideLayout" Target="../slideLayouts/slideLayout269.xml"/><Relationship Id="rId10" Type="http://schemas.openxmlformats.org/officeDocument/2006/relationships/slideLayout" Target="../slideLayouts/slideLayout243.xml"/><Relationship Id="rId11" Type="http://schemas.openxmlformats.org/officeDocument/2006/relationships/slideLayout" Target="../slideLayouts/slideLayout244.xml"/><Relationship Id="rId12" Type="http://schemas.openxmlformats.org/officeDocument/2006/relationships/slideLayout" Target="../slideLayouts/slideLayout245.xml"/><Relationship Id="rId13" Type="http://schemas.openxmlformats.org/officeDocument/2006/relationships/slideLayout" Target="../slideLayouts/slideLayout246.xml"/><Relationship Id="rId14" Type="http://schemas.openxmlformats.org/officeDocument/2006/relationships/slideLayout" Target="../slideLayouts/slideLayout247.xml"/><Relationship Id="rId15" Type="http://schemas.openxmlformats.org/officeDocument/2006/relationships/slideLayout" Target="../slideLayouts/slideLayout248.xml"/><Relationship Id="rId16" Type="http://schemas.openxmlformats.org/officeDocument/2006/relationships/slideLayout" Target="../slideLayouts/slideLayout249.xml"/><Relationship Id="rId17" Type="http://schemas.openxmlformats.org/officeDocument/2006/relationships/slideLayout" Target="../slideLayouts/slideLayout250.xml"/><Relationship Id="rId18" Type="http://schemas.openxmlformats.org/officeDocument/2006/relationships/slideLayout" Target="../slideLayouts/slideLayout251.xml"/><Relationship Id="rId19" Type="http://schemas.openxmlformats.org/officeDocument/2006/relationships/slideLayout" Target="../slideLayouts/slideLayout252.xml"/><Relationship Id="rId37" Type="http://schemas.openxmlformats.org/officeDocument/2006/relationships/slideLayout" Target="../slideLayouts/slideLayout270.xml"/><Relationship Id="rId38" Type="http://schemas.openxmlformats.org/officeDocument/2006/relationships/slideLayout" Target="../slideLayouts/slideLayout271.xml"/><Relationship Id="rId39" Type="http://schemas.openxmlformats.org/officeDocument/2006/relationships/slideLayout" Target="../slideLayouts/slideLayout272.xml"/><Relationship Id="rId40" Type="http://schemas.openxmlformats.org/officeDocument/2006/relationships/slideLayout" Target="../slideLayouts/slideLayout273.xml"/><Relationship Id="rId4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85278C-2795-4D0E-AB2D-5ED126775F60}" type="datetimeFigureOut">
              <a:rPr lang="en-IN" smtClean="0"/>
              <a:t>11/09/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6155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370907" y="5878"/>
            <a:ext cx="935478" cy="5648525"/>
            <a:chOff x="12618967" y="5995"/>
            <a:chExt cx="954236" cy="5760972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161616"/>
                        </a:gs>
                        <a:gs pos="100000">
                          <a:srgbClr val="161616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Blu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161616"/>
                        </a:gs>
                        <a:gs pos="100000">
                          <a:srgbClr val="161616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88 B:242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3010703" y="258334"/>
              <a:ext cx="798166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834159" y="4228746"/>
              <a:ext cx="2472319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8 G:0 B:0</a:t>
              </a: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E6E6E6"/>
            </a:solidFill>
            <a:ln w="3175">
              <a:solidFill>
                <a:srgbClr val="16161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37168">
                        <a:srgbClr val="161616"/>
                      </a:gs>
                      <a:gs pos="72000">
                        <a:srgbClr val="161616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Light Gray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37168">
                        <a:srgbClr val="161616"/>
                      </a:gs>
                      <a:gs pos="72000">
                        <a:srgbClr val="161616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 G:124 B:16</a:t>
              </a: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12340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325053" y="1906415"/>
            <a:ext cx="4214127" cy="401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745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</p:sldLayoutIdLst>
  <p:transition>
    <p:fade/>
  </p:transition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5292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1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1301">
          <p15:clr>
            <a:srgbClr val="F26B43"/>
          </p15:clr>
        </p15:guide>
        <p15:guide id="3" pos="2597">
          <p15:clr>
            <a:srgbClr val="F26B43"/>
          </p15:clr>
        </p15:guide>
        <p15:guide id="4" pos="3917">
          <p15:clr>
            <a:srgbClr val="F26B43"/>
          </p15:clr>
        </p15:guide>
        <p15:guide id="5" pos="5237">
          <p15:clr>
            <a:srgbClr val="F26B43"/>
          </p15:clr>
        </p15:guide>
        <p15:guide id="6" pos="6557">
          <p15:clr>
            <a:srgbClr val="F26B43"/>
          </p15:clr>
        </p15:guide>
        <p15:guide id="7" pos="125">
          <p15:clr>
            <a:srgbClr val="A4A3A4"/>
          </p15:clr>
        </p15:guide>
        <p15:guide id="8" pos="1157">
          <p15:clr>
            <a:srgbClr val="A4A3A4"/>
          </p15:clr>
        </p15:guide>
        <p15:guide id="9" pos="1445">
          <p15:clr>
            <a:srgbClr val="A4A3A4"/>
          </p15:clr>
        </p15:guide>
        <p15:guide id="10" pos="2453">
          <p15:clr>
            <a:srgbClr val="A4A3A4"/>
          </p15:clr>
        </p15:guide>
        <p15:guide id="11" pos="2741">
          <p15:clr>
            <a:srgbClr val="A4A3A4"/>
          </p15:clr>
        </p15:guide>
        <p15:guide id="12" pos="3773">
          <p15:clr>
            <a:srgbClr val="A4A3A4"/>
          </p15:clr>
        </p15:guide>
        <p15:guide id="13" pos="4061">
          <p15:clr>
            <a:srgbClr val="A4A3A4"/>
          </p15:clr>
        </p15:guide>
        <p15:guide id="14" pos="5093">
          <p15:clr>
            <a:srgbClr val="A4A3A4"/>
          </p15:clr>
        </p15:guide>
        <p15:guide id="15" pos="5381">
          <p15:clr>
            <a:srgbClr val="A4A3A4"/>
          </p15:clr>
        </p15:guide>
        <p15:guide id="16" pos="6413">
          <p15:clr>
            <a:srgbClr val="A4A3A4"/>
          </p15:clr>
        </p15:guide>
        <p15:guide id="17" pos="6701">
          <p15:clr>
            <a:srgbClr val="A4A3A4"/>
          </p15:clr>
        </p15:guide>
        <p15:guide id="18" orient="horz" pos="1315">
          <p15:clr>
            <a:srgbClr val="F26B43"/>
          </p15:clr>
        </p15:guide>
        <p15:guide id="19" orient="horz" pos="2611">
          <p15:clr>
            <a:srgbClr val="F26B43"/>
          </p15:clr>
        </p15:guide>
        <p15:guide id="20" orient="horz" pos="3931">
          <p15:clr>
            <a:srgbClr val="F26B43"/>
          </p15:clr>
        </p15:guide>
        <p15:guide id="21" orient="horz" pos="139">
          <p15:clr>
            <a:srgbClr val="A4A3A4"/>
          </p15:clr>
        </p15:guide>
        <p15:guide id="22" orient="horz" pos="4267">
          <p15:clr>
            <a:srgbClr val="A4A3A4"/>
          </p15:clr>
        </p15:guide>
        <p15:guide id="23" pos="696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4465" y="334170"/>
            <a:ext cx="11384209" cy="89255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465" y="1794669"/>
            <a:ext cx="11384209" cy="36096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59289" y="2932714"/>
            <a:ext cx="6724751" cy="859326"/>
          </a:xfrm>
          <a:prstGeom prst="rect">
            <a:avLst/>
          </a:prstGeom>
        </p:spPr>
      </p:pic>
      <p:pic>
        <p:nvPicPr>
          <p:cNvPr id="8" name="Picture 7" descr="https://upload.wikimedia.org/wikipedia/commons/thumb/9/96/Microsoft_logo_(2012).svg/2000px-Microsoft_logo_(2012).svg.png"/>
          <p:cNvPicPr/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54982" y="-401215"/>
            <a:ext cx="1143000" cy="246380"/>
          </a:xfrm>
          <a:prstGeom prst="rect">
            <a:avLst/>
          </a:prstGeom>
          <a:noFill/>
          <a:extLst/>
        </p:spPr>
      </p:pic>
    </p:spTree>
    <p:extLst>
      <p:ext uri="{BB962C8B-B14F-4D97-AF65-F5344CB8AC3E}">
        <p14:creationId xmlns:p14="http://schemas.microsoft.com/office/powerpoint/2010/main" val="1262501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  <p:sldLayoutId id="2147483740" r:id="rId22"/>
    <p:sldLayoutId id="2147483741" r:id="rId23"/>
    <p:sldLayoutId id="2147483742" r:id="rId24"/>
    <p:sldLayoutId id="2147483743" r:id="rId25"/>
    <p:sldLayoutId id="2147483744" r:id="rId26"/>
    <p:sldLayoutId id="2147483745" r:id="rId27"/>
    <p:sldLayoutId id="2147483746" r:id="rId28"/>
    <p:sldLayoutId id="2147483747" r:id="rId29"/>
    <p:sldLayoutId id="2147483748" r:id="rId30"/>
    <p:sldLayoutId id="2147483749" r:id="rId31"/>
  </p:sldLayoutIdLst>
  <p:txStyles>
    <p:titleStyle>
      <a:lvl1pPr algn="l" defTabSz="914225" rtl="0" eaLnBrk="1" latinLnBrk="0" hangingPunct="1">
        <a:lnSpc>
          <a:spcPct val="90000"/>
        </a:lnSpc>
        <a:spcBef>
          <a:spcPct val="0"/>
        </a:spcBef>
        <a:buNone/>
        <a:defRPr sz="5399" kern="1200">
          <a:solidFill>
            <a:schemeClr val="bg1"/>
          </a:solidFill>
          <a:latin typeface="Segoe UI Light" panose="020B0502040204020203" pitchFamily="34" charset="0"/>
          <a:ea typeface="+mj-ea"/>
          <a:cs typeface="Segoe UI Light" panose="020B0502040204020203" pitchFamily="34" charset="0"/>
        </a:defRPr>
      </a:lvl1pPr>
    </p:titleStyle>
    <p:bodyStyle>
      <a:lvl1pPr marL="228556" indent="-228556" algn="l" defTabSz="914225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668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2781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599893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005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118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30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41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53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2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5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37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49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61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74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85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97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370907" y="5878"/>
            <a:ext cx="935478" cy="5648525"/>
            <a:chOff x="12618967" y="5995"/>
            <a:chExt cx="954236" cy="5760972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161616"/>
                        </a:gs>
                        <a:gs pos="100000">
                          <a:srgbClr val="161616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Blu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161616"/>
                        </a:gs>
                        <a:gs pos="100000">
                          <a:srgbClr val="161616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88 B:242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3010703" y="258334"/>
              <a:ext cx="798166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834159" y="4228746"/>
              <a:ext cx="2472319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8 G:0 B:0</a:t>
              </a: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E6E6E6"/>
            </a:solidFill>
            <a:ln w="3175">
              <a:solidFill>
                <a:srgbClr val="16161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37168">
                        <a:srgbClr val="161616"/>
                      </a:gs>
                      <a:gs pos="72000">
                        <a:srgbClr val="161616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Light Gray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37168">
                        <a:srgbClr val="161616"/>
                      </a:gs>
                      <a:gs pos="72000">
                        <a:srgbClr val="161616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 G:124 B:16</a:t>
              </a: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3126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  <p:sldLayoutId id="2147483765" r:id="rId15"/>
    <p:sldLayoutId id="2147483766" r:id="rId16"/>
    <p:sldLayoutId id="2147483767" r:id="rId17"/>
    <p:sldLayoutId id="2147483768" r:id="rId18"/>
    <p:sldLayoutId id="2147483769" r:id="rId19"/>
    <p:sldLayoutId id="2147483770" r:id="rId20"/>
    <p:sldLayoutId id="2147483771" r:id="rId21"/>
    <p:sldLayoutId id="2147483772" r:id="rId22"/>
    <p:sldLayoutId id="2147483773" r:id="rId23"/>
    <p:sldLayoutId id="2147483774" r:id="rId24"/>
    <p:sldLayoutId id="2147483775" r:id="rId25"/>
    <p:sldLayoutId id="2147483776" r:id="rId26"/>
    <p:sldLayoutId id="2147483777" r:id="rId27"/>
    <p:sldLayoutId id="2147483778" r:id="rId28"/>
    <p:sldLayoutId id="2147483779" r:id="rId29"/>
    <p:sldLayoutId id="2147483780" r:id="rId30"/>
    <p:sldLayoutId id="2147483781" r:id="rId31"/>
    <p:sldLayoutId id="2147483782" r:id="rId32"/>
    <p:sldLayoutId id="2147483783" r:id="rId33"/>
    <p:sldLayoutId id="2147483784" r:id="rId34"/>
    <p:sldLayoutId id="2147483785" r:id="rId35"/>
    <p:sldLayoutId id="2147483786" r:id="rId36"/>
    <p:sldLayoutId id="2147483787" r:id="rId37"/>
    <p:sldLayoutId id="2147483788" r:id="rId38"/>
    <p:sldLayoutId id="2147483789" r:id="rId39"/>
    <p:sldLayoutId id="2147483790" r:id="rId40"/>
    <p:sldLayoutId id="2147483832" r:id="rId41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370907" y="5878"/>
            <a:ext cx="935478" cy="5648525"/>
            <a:chOff x="12618967" y="5995"/>
            <a:chExt cx="954236" cy="5760972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161616"/>
                        </a:gs>
                        <a:gs pos="100000">
                          <a:srgbClr val="161616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Blu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161616"/>
                        </a:gs>
                        <a:gs pos="100000">
                          <a:srgbClr val="161616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88 B:242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3010703" y="258334"/>
              <a:ext cx="798166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834159" y="4228746"/>
              <a:ext cx="2472319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8 G:0 B:0</a:t>
              </a: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E6E6E6"/>
            </a:solidFill>
            <a:ln w="3175">
              <a:solidFill>
                <a:srgbClr val="16161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37168">
                        <a:srgbClr val="161616"/>
                      </a:gs>
                      <a:gs pos="72000">
                        <a:srgbClr val="161616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Light Gray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37168">
                        <a:srgbClr val="161616"/>
                      </a:gs>
                      <a:gs pos="72000">
                        <a:srgbClr val="161616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 G:124 B:16</a:t>
              </a: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41355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  <p:sldLayoutId id="2147483805" r:id="rId14"/>
    <p:sldLayoutId id="2147483806" r:id="rId15"/>
    <p:sldLayoutId id="2147483807" r:id="rId16"/>
    <p:sldLayoutId id="2147483808" r:id="rId17"/>
    <p:sldLayoutId id="2147483809" r:id="rId18"/>
    <p:sldLayoutId id="2147483810" r:id="rId19"/>
    <p:sldLayoutId id="2147483811" r:id="rId20"/>
    <p:sldLayoutId id="2147483812" r:id="rId21"/>
    <p:sldLayoutId id="2147483813" r:id="rId22"/>
    <p:sldLayoutId id="2147483814" r:id="rId23"/>
    <p:sldLayoutId id="2147483815" r:id="rId24"/>
    <p:sldLayoutId id="2147483816" r:id="rId25"/>
    <p:sldLayoutId id="2147483817" r:id="rId26"/>
    <p:sldLayoutId id="2147483818" r:id="rId27"/>
    <p:sldLayoutId id="2147483819" r:id="rId28"/>
    <p:sldLayoutId id="2147483820" r:id="rId29"/>
    <p:sldLayoutId id="2147483821" r:id="rId30"/>
    <p:sldLayoutId id="2147483822" r:id="rId31"/>
    <p:sldLayoutId id="2147483823" r:id="rId32"/>
    <p:sldLayoutId id="2147483824" r:id="rId33"/>
    <p:sldLayoutId id="2147483825" r:id="rId34"/>
    <p:sldLayoutId id="2147483826" r:id="rId35"/>
    <p:sldLayoutId id="2147483827" r:id="rId36"/>
    <p:sldLayoutId id="2147483828" r:id="rId37"/>
    <p:sldLayoutId id="2147483829" r:id="rId38"/>
    <p:sldLayoutId id="2147483830" r:id="rId39"/>
    <p:sldLayoutId id="2147483831" r:id="rId40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1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065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  <p:sldLayoutId id="2147483846" r:id="rId13"/>
    <p:sldLayoutId id="214748384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370907" y="5878"/>
            <a:ext cx="935478" cy="5648525"/>
            <a:chOff x="12618967" y="5995"/>
            <a:chExt cx="954236" cy="5760972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161616"/>
                        </a:gs>
                        <a:gs pos="100000">
                          <a:srgbClr val="161616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Blu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161616"/>
                        </a:gs>
                        <a:gs pos="100000">
                          <a:srgbClr val="161616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88 B:242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3010703" y="258334"/>
              <a:ext cx="798166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834159" y="4228746"/>
              <a:ext cx="2472319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8 G:0 B:0</a:t>
              </a: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E6E6E6"/>
            </a:solidFill>
            <a:ln w="3175">
              <a:solidFill>
                <a:srgbClr val="16161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37168">
                        <a:srgbClr val="161616"/>
                      </a:gs>
                      <a:gs pos="72000">
                        <a:srgbClr val="161616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Light Gray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37168">
                        <a:srgbClr val="161616"/>
                      </a:gs>
                      <a:gs pos="72000">
                        <a:srgbClr val="161616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 G:124 B:16</a:t>
              </a: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921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  <p:sldLayoutId id="2147483861" r:id="rId13"/>
    <p:sldLayoutId id="2147483862" r:id="rId14"/>
    <p:sldLayoutId id="2147483863" r:id="rId15"/>
    <p:sldLayoutId id="2147483864" r:id="rId16"/>
    <p:sldLayoutId id="2147483865" r:id="rId17"/>
    <p:sldLayoutId id="2147483866" r:id="rId18"/>
    <p:sldLayoutId id="2147483867" r:id="rId19"/>
    <p:sldLayoutId id="2147483868" r:id="rId20"/>
    <p:sldLayoutId id="2147483869" r:id="rId21"/>
    <p:sldLayoutId id="2147483870" r:id="rId22"/>
    <p:sldLayoutId id="2147483871" r:id="rId23"/>
    <p:sldLayoutId id="2147483872" r:id="rId24"/>
    <p:sldLayoutId id="2147483873" r:id="rId25"/>
    <p:sldLayoutId id="2147483874" r:id="rId26"/>
    <p:sldLayoutId id="2147483875" r:id="rId27"/>
    <p:sldLayoutId id="2147483876" r:id="rId28"/>
    <p:sldLayoutId id="2147483877" r:id="rId29"/>
    <p:sldLayoutId id="2147483878" r:id="rId30"/>
    <p:sldLayoutId id="2147483879" r:id="rId31"/>
    <p:sldLayoutId id="2147483880" r:id="rId32"/>
    <p:sldLayoutId id="2147483881" r:id="rId33"/>
    <p:sldLayoutId id="2147483882" r:id="rId34"/>
    <p:sldLayoutId id="2147483883" r:id="rId35"/>
    <p:sldLayoutId id="2147483884" r:id="rId36"/>
    <p:sldLayoutId id="2147483885" r:id="rId37"/>
    <p:sldLayoutId id="2147483886" r:id="rId38"/>
    <p:sldLayoutId id="2147483887" r:id="rId39"/>
    <p:sldLayoutId id="2147483888" r:id="rId40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370907" y="5878"/>
            <a:ext cx="935478" cy="5648525"/>
            <a:chOff x="12618967" y="5995"/>
            <a:chExt cx="954236" cy="5760972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161616"/>
                        </a:gs>
                        <a:gs pos="100000">
                          <a:srgbClr val="161616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Blu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161616"/>
                        </a:gs>
                        <a:gs pos="100000">
                          <a:srgbClr val="161616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88 B:242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3010703" y="258334"/>
              <a:ext cx="798166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834159" y="4228746"/>
              <a:ext cx="2472319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8 G:0 B:0</a:t>
              </a: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E6E6E6"/>
            </a:solidFill>
            <a:ln w="3175">
              <a:solidFill>
                <a:srgbClr val="16161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37168">
                        <a:srgbClr val="161616"/>
                      </a:gs>
                      <a:gs pos="72000">
                        <a:srgbClr val="161616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Light Gray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37168">
                        <a:srgbClr val="161616"/>
                      </a:gs>
                      <a:gs pos="72000">
                        <a:srgbClr val="161616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 G:124 B:16</a:t>
              </a: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37401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  <p:sldLayoutId id="2147483895" r:id="rId6"/>
    <p:sldLayoutId id="2147483896" r:id="rId7"/>
    <p:sldLayoutId id="2147483897" r:id="rId8"/>
    <p:sldLayoutId id="2147483898" r:id="rId9"/>
    <p:sldLayoutId id="2147483899" r:id="rId10"/>
    <p:sldLayoutId id="2147483900" r:id="rId11"/>
    <p:sldLayoutId id="2147483901" r:id="rId12"/>
    <p:sldLayoutId id="2147483902" r:id="rId13"/>
    <p:sldLayoutId id="2147483903" r:id="rId14"/>
    <p:sldLayoutId id="2147483904" r:id="rId15"/>
    <p:sldLayoutId id="2147483905" r:id="rId16"/>
    <p:sldLayoutId id="2147483906" r:id="rId17"/>
    <p:sldLayoutId id="2147483907" r:id="rId18"/>
    <p:sldLayoutId id="2147483908" r:id="rId19"/>
    <p:sldLayoutId id="2147483909" r:id="rId20"/>
    <p:sldLayoutId id="2147483910" r:id="rId21"/>
    <p:sldLayoutId id="2147483911" r:id="rId22"/>
    <p:sldLayoutId id="2147483912" r:id="rId23"/>
    <p:sldLayoutId id="2147483913" r:id="rId24"/>
    <p:sldLayoutId id="2147483914" r:id="rId25"/>
    <p:sldLayoutId id="2147483915" r:id="rId26"/>
    <p:sldLayoutId id="2147483916" r:id="rId27"/>
    <p:sldLayoutId id="2147483917" r:id="rId28"/>
    <p:sldLayoutId id="2147483918" r:id="rId29"/>
    <p:sldLayoutId id="2147483919" r:id="rId30"/>
    <p:sldLayoutId id="2147483920" r:id="rId31"/>
    <p:sldLayoutId id="2147483921" r:id="rId32"/>
    <p:sldLayoutId id="2147483922" r:id="rId33"/>
    <p:sldLayoutId id="2147483923" r:id="rId34"/>
    <p:sldLayoutId id="2147483924" r:id="rId35"/>
    <p:sldLayoutId id="2147483925" r:id="rId36"/>
    <p:sldLayoutId id="2147483926" r:id="rId37"/>
    <p:sldLayoutId id="2147483927" r:id="rId38"/>
    <p:sldLayoutId id="2147483928" r:id="rId39"/>
    <p:sldLayoutId id="2147483929" r:id="rId40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7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0.xml"/><Relationship Id="rId2" Type="http://schemas.openxmlformats.org/officeDocument/2006/relationships/notesSlide" Target="../notesSlides/notesSlide9.xml"/><Relationship Id="rId3" Type="http://schemas.openxmlformats.org/officeDocument/2006/relationships/hyperlink" Target="https://github.com/sanagama/sql2017-data360" TargetMode="External"/></Relationships>
</file>

<file path=ppt/slides/_rels/slide11.xml.rels><?xml version="1.0" encoding="UTF-8" standalone="yes"?>
<Relationships xmlns="http://schemas.openxmlformats.org/package/2006/relationships"><Relationship Id="rId11" Type="http://schemas.openxmlformats.org/officeDocument/2006/relationships/hyperlink" Target="mailto:sanagama@microsoft.com" TargetMode="External"/><Relationship Id="rId12" Type="http://schemas.openxmlformats.org/officeDocument/2006/relationships/image" Target="../media/image43.png"/><Relationship Id="rId13" Type="http://schemas.openxmlformats.org/officeDocument/2006/relationships/image" Target="../media/image44.png"/><Relationship Id="rId1" Type="http://schemas.openxmlformats.org/officeDocument/2006/relationships/slideLayout" Target="../slideLayouts/slideLayout191.xml"/><Relationship Id="rId2" Type="http://schemas.openxmlformats.org/officeDocument/2006/relationships/hyperlink" Target="https://www.microsoft.com/en-us/sql-server/sql-server-2017" TargetMode="External"/><Relationship Id="rId3" Type="http://schemas.openxmlformats.org/officeDocument/2006/relationships/hyperlink" Target="http://aka.ms/sqldevops" TargetMode="External"/><Relationship Id="rId4" Type="http://schemas.openxmlformats.org/officeDocument/2006/relationships/hyperlink" Target="http://aka.ms/sqldev" TargetMode="External"/><Relationship Id="rId5" Type="http://schemas.openxmlformats.org/officeDocument/2006/relationships/hyperlink" Target="https://blogs.technet.microsoft.com/dataplatforminsider" TargetMode="External"/><Relationship Id="rId6" Type="http://schemas.openxmlformats.org/officeDocument/2006/relationships/hyperlink" Target="https://docs.microsoft.com/en-us/sql/linux" TargetMode="External"/><Relationship Id="rId7" Type="http://schemas.openxmlformats.org/officeDocument/2006/relationships/hyperlink" Target="https://marketplace.visualstudio.com/items?itemName=ms-mssql.mssql" TargetMode="External"/><Relationship Id="rId8" Type="http://schemas.openxmlformats.org/officeDocument/2006/relationships/hyperlink" Target="https://docs.microsoft.com/en-us/sql/linux/sql-server-linux-setup-tools" TargetMode="External"/><Relationship Id="rId9" Type="http://schemas.openxmlformats.org/officeDocument/2006/relationships/hyperlink" Target="https://pypi.python.org/pypi/mssql-scripter" TargetMode="External"/><Relationship Id="rId10" Type="http://schemas.openxmlformats.org/officeDocument/2006/relationships/hyperlink" Target="https://github.com/sanagama/sql2017-data360" TargetMode="Externa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5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1.xml"/><Relationship Id="rId2" Type="http://schemas.openxmlformats.org/officeDocument/2006/relationships/notesSlide" Target="../notesSlides/notesSlide1.xml"/><Relationship Id="rId3" Type="http://schemas.openxmlformats.org/officeDocument/2006/relationships/hyperlink" Target="mailto:sanagama@microsoft.com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notesSlide" Target="../notesSlides/notesSlide2.xml"/><Relationship Id="rId3" Type="http://schemas.openxmlformats.org/officeDocument/2006/relationships/hyperlink" Target="http://www.apache.org/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notesSlide" Target="../notesSlides/notesSlide3.xml"/><Relationship Id="rId3" Type="http://schemas.openxmlformats.org/officeDocument/2006/relationships/hyperlink" Target="http://www.apache.org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4" Type="http://schemas.openxmlformats.org/officeDocument/2006/relationships/image" Target="../media/image39.png"/><Relationship Id="rId5" Type="http://schemas.openxmlformats.org/officeDocument/2006/relationships/image" Target="../media/image40.png"/><Relationship Id="rId6" Type="http://schemas.openxmlformats.org/officeDocument/2006/relationships/image" Target="../media/image41.png"/><Relationship Id="rId1" Type="http://schemas.openxmlformats.org/officeDocument/2006/relationships/slideLayout" Target="../slideLayouts/slideLayout59.xml"/><Relationship Id="rId2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Relationship Id="rId2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0.xml"/><Relationship Id="rId2" Type="http://schemas.openxmlformats.org/officeDocument/2006/relationships/notesSlide" Target="../notesSlides/notesSlide6.xml"/><Relationship Id="rId3" Type="http://schemas.openxmlformats.org/officeDocument/2006/relationships/hyperlink" Target="https://github.com/sanagama/sql2017-data360" TargetMode="Externa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0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4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9.xml"/><Relationship Id="rId2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43355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0" y="2208299"/>
            <a:ext cx="9027160" cy="2902333"/>
          </a:xfrm>
        </p:spPr>
        <p:txBody>
          <a:bodyPr/>
          <a:lstStyle/>
          <a:p>
            <a:r>
              <a:rPr lang="en-US" dirty="0" smtClean="0"/>
              <a:t>SQL Server in Docker</a:t>
            </a:r>
          </a:p>
          <a:p>
            <a:endParaRPr lang="en-US" dirty="0" smtClean="0"/>
          </a:p>
          <a:p>
            <a:pPr marL="448193" indent="-448193">
              <a:buFontTx/>
              <a:buChar char="-"/>
            </a:pPr>
            <a:r>
              <a:rPr lang="en-US" dirty="0" smtClean="0"/>
              <a:t>Install experience</a:t>
            </a:r>
          </a:p>
          <a:p>
            <a:pPr marL="448193" indent="-448193">
              <a:buFontTx/>
              <a:buChar char="-"/>
            </a:pPr>
            <a:r>
              <a:rPr lang="en-US" dirty="0" smtClean="0"/>
              <a:t>Connect &amp; query</a:t>
            </a:r>
          </a:p>
          <a:p>
            <a:pPr marL="448193" indent="-448193">
              <a:buFontTx/>
              <a:buChar char="-"/>
            </a:pPr>
            <a:r>
              <a:rPr lang="en-US" dirty="0" smtClean="0"/>
              <a:t>Easily Provision Pre-Prod and DEV environments</a:t>
            </a:r>
            <a:endParaRPr lang="en-US" dirty="0"/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269240" y="5110632"/>
            <a:ext cx="8902469" cy="1164421"/>
          </a:xfrm>
          <a:prstGeom prst="rect">
            <a:avLst/>
          </a:prstGeom>
          <a:noFill/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137" kern="1200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353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mo scripts are on </a:t>
            </a:r>
            <a:r>
              <a:rPr lang="en-US" dirty="0" err="1"/>
              <a:t>Github</a:t>
            </a:r>
            <a:r>
              <a:rPr lang="en-US" dirty="0"/>
              <a:t>:</a:t>
            </a:r>
          </a:p>
          <a:p>
            <a:r>
              <a:rPr lang="en-US" dirty="0" smtClean="0">
                <a:hlinkClick r:id="rId3"/>
              </a:rPr>
              <a:t>https</a:t>
            </a:r>
            <a:r>
              <a:rPr lang="en-US" dirty="0">
                <a:hlinkClick r:id="rId3"/>
              </a:rPr>
              <a:t>://</a:t>
            </a:r>
            <a:r>
              <a:rPr lang="en-US" dirty="0" smtClean="0">
                <a:hlinkClick r:id="rId3"/>
              </a:rPr>
              <a:t>github.com/sanagama/sql2017-data360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7592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193432" y="1061545"/>
            <a:ext cx="5874859" cy="5376325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 smtClean="0"/>
              <a:t>SQL </a:t>
            </a:r>
            <a:r>
              <a:rPr lang="en-US" sz="1800" dirty="0"/>
              <a:t>Server </a:t>
            </a:r>
            <a:r>
              <a:rPr lang="en-US" sz="1800" dirty="0" smtClean="0"/>
              <a:t>2017</a:t>
            </a:r>
            <a:br>
              <a:rPr lang="en-US" sz="1800" dirty="0" smtClean="0"/>
            </a:br>
            <a:r>
              <a:rPr lang="en-US" sz="1800" dirty="0" smtClean="0">
                <a:hlinkClick r:id="rId2"/>
              </a:rPr>
              <a:t>https</a:t>
            </a:r>
            <a:r>
              <a:rPr lang="en-US" sz="1800" dirty="0">
                <a:hlinkClick r:id="rId2"/>
              </a:rPr>
              <a:t>://</a:t>
            </a:r>
            <a:r>
              <a:rPr lang="en-US" sz="1800" dirty="0" smtClean="0">
                <a:hlinkClick r:id="rId2"/>
              </a:rPr>
              <a:t>www.microsoft.com/en-us/sql-server/sql-server-2017</a:t>
            </a:r>
            <a:endParaRPr lang="en-US" sz="1800" dirty="0" smtClean="0"/>
          </a:p>
          <a:p>
            <a:pPr marL="0" indent="0">
              <a:buNone/>
            </a:pPr>
            <a:r>
              <a:rPr lang="en-US" sz="1800" dirty="0"/>
              <a:t>DevOps using SQL Server: </a:t>
            </a:r>
            <a:r>
              <a:rPr lang="en-US" sz="1800" dirty="0">
                <a:hlinkClick r:id="rId3"/>
              </a:rPr>
              <a:t>http://aka.ms/sqldevops</a:t>
            </a:r>
            <a:r>
              <a:rPr lang="en-US" sz="1800" dirty="0"/>
              <a:t> </a:t>
            </a:r>
            <a:endParaRPr lang="en-US" sz="1800" dirty="0" smtClean="0"/>
          </a:p>
          <a:p>
            <a:pPr marL="0" indent="0">
              <a:buNone/>
            </a:pPr>
            <a:r>
              <a:rPr lang="en-US" sz="1800" dirty="0" smtClean="0"/>
              <a:t>Build </a:t>
            </a:r>
            <a:r>
              <a:rPr lang="en-US" sz="1800" dirty="0"/>
              <a:t>an app using SQL Server </a:t>
            </a:r>
            <a:r>
              <a:rPr lang="en-US" sz="1800" dirty="0">
                <a:hlinkClick r:id="rId4"/>
              </a:rPr>
              <a:t>http://</a:t>
            </a:r>
            <a:r>
              <a:rPr lang="en-US" sz="1800" dirty="0" smtClean="0">
                <a:hlinkClick r:id="rId4"/>
              </a:rPr>
              <a:t>aka.ms/sqldev</a:t>
            </a:r>
            <a:endParaRPr lang="en-US" sz="1800" dirty="0" smtClean="0"/>
          </a:p>
          <a:p>
            <a:pPr marL="0" indent="0">
              <a:buNone/>
            </a:pPr>
            <a:r>
              <a:rPr lang="en-US" sz="1800" dirty="0" smtClean="0"/>
              <a:t>SQL </a:t>
            </a:r>
            <a:r>
              <a:rPr lang="en-US" sz="1800" dirty="0"/>
              <a:t>Server Blog </a:t>
            </a:r>
            <a:r>
              <a:rPr lang="en-US" sz="1800" dirty="0">
                <a:hlinkClick r:id="rId5"/>
              </a:rPr>
              <a:t>https://</a:t>
            </a:r>
            <a:r>
              <a:rPr lang="en-US" sz="1800" dirty="0" smtClean="0">
                <a:hlinkClick r:id="rId5"/>
              </a:rPr>
              <a:t>blogs.technet.microsoft.com/dataplatforminsider</a:t>
            </a:r>
            <a:endParaRPr lang="en-US" sz="1800" dirty="0" smtClean="0"/>
          </a:p>
          <a:p>
            <a:pPr marL="0" indent="0">
              <a:buNone/>
            </a:pPr>
            <a:r>
              <a:rPr lang="en-US" sz="1800" dirty="0" smtClean="0"/>
              <a:t>SQL Server Documentation: </a:t>
            </a:r>
            <a:r>
              <a:rPr lang="en-US" sz="1800" dirty="0" smtClean="0">
                <a:hlinkClick r:id="rId6"/>
              </a:rPr>
              <a:t>https</a:t>
            </a:r>
            <a:r>
              <a:rPr lang="en-US" sz="1800" dirty="0">
                <a:hlinkClick r:id="rId6"/>
              </a:rPr>
              <a:t>://</a:t>
            </a:r>
            <a:r>
              <a:rPr lang="en-US" sz="1800" dirty="0" smtClean="0">
                <a:hlinkClick r:id="rId6"/>
              </a:rPr>
              <a:t>docs.microsoft.com/en-us/sql/linux</a:t>
            </a:r>
            <a:endParaRPr lang="en-US" sz="1800" dirty="0" smtClean="0"/>
          </a:p>
          <a:p>
            <a:pPr marL="0" indent="0">
              <a:buNone/>
            </a:pPr>
            <a:r>
              <a:rPr lang="en-US" sz="1800" dirty="0" smtClean="0"/>
              <a:t>VS </a:t>
            </a:r>
            <a:r>
              <a:rPr lang="en-US" sz="1800" dirty="0"/>
              <a:t>Code </a:t>
            </a:r>
            <a:r>
              <a:rPr lang="en-US" sz="1800" dirty="0" err="1"/>
              <a:t>mssql</a:t>
            </a:r>
            <a:r>
              <a:rPr lang="en-US" sz="1800" dirty="0"/>
              <a:t> </a:t>
            </a:r>
            <a:r>
              <a:rPr lang="en-US" sz="1800" dirty="0" smtClean="0"/>
              <a:t>extension: </a:t>
            </a:r>
            <a:r>
              <a:rPr lang="en-US" sz="1800" dirty="0" smtClean="0">
                <a:hlinkClick r:id="rId7"/>
              </a:rPr>
              <a:t>https</a:t>
            </a:r>
            <a:r>
              <a:rPr lang="en-US" sz="1800" dirty="0">
                <a:hlinkClick r:id="rId7"/>
              </a:rPr>
              <a:t>://</a:t>
            </a:r>
            <a:r>
              <a:rPr lang="en-US" sz="1800" dirty="0" smtClean="0">
                <a:hlinkClick r:id="rId7"/>
              </a:rPr>
              <a:t>marketplace.visualstudio.com/items?itemName=ms-mssql.mssql</a:t>
            </a:r>
            <a:endParaRPr lang="en-US" sz="1800" dirty="0" smtClean="0"/>
          </a:p>
          <a:p>
            <a:pPr marL="0" indent="0">
              <a:buNone/>
            </a:pPr>
            <a:r>
              <a:rPr lang="en-US" sz="1800" dirty="0" err="1" smtClean="0"/>
              <a:t>mssql</a:t>
            </a:r>
            <a:r>
              <a:rPr lang="en-US" sz="1800" dirty="0" smtClean="0"/>
              <a:t>-tools </a:t>
            </a:r>
            <a:r>
              <a:rPr lang="en-US" sz="1800" dirty="0"/>
              <a:t>(</a:t>
            </a:r>
            <a:r>
              <a:rPr lang="en-US" sz="1800" dirty="0" err="1"/>
              <a:t>sqlcmd</a:t>
            </a:r>
            <a:r>
              <a:rPr lang="en-US" sz="1800" dirty="0"/>
              <a:t> &amp; </a:t>
            </a:r>
            <a:r>
              <a:rPr lang="en-US" sz="1800" dirty="0" err="1"/>
              <a:t>bcp</a:t>
            </a:r>
            <a:r>
              <a:rPr lang="en-US" sz="1800" dirty="0" smtClean="0"/>
              <a:t>): </a:t>
            </a:r>
            <a:r>
              <a:rPr lang="en-US" sz="1800" dirty="0" smtClean="0">
                <a:hlinkClick r:id="rId8"/>
              </a:rPr>
              <a:t>https</a:t>
            </a:r>
            <a:r>
              <a:rPr lang="en-US" sz="1800" dirty="0">
                <a:hlinkClick r:id="rId8"/>
              </a:rPr>
              <a:t>://</a:t>
            </a:r>
            <a:r>
              <a:rPr lang="en-US" sz="1800" dirty="0" smtClean="0">
                <a:hlinkClick r:id="rId8"/>
              </a:rPr>
              <a:t>docs.microsoft.com/en-us/sql/linux/sql-server-linux-setup-tools</a:t>
            </a:r>
            <a:endParaRPr lang="en-US" sz="1800" dirty="0" smtClean="0"/>
          </a:p>
          <a:p>
            <a:pPr marL="0" indent="0">
              <a:buNone/>
            </a:pPr>
            <a:r>
              <a:rPr lang="en-US" sz="1800" dirty="0" err="1" smtClean="0"/>
              <a:t>mssql</a:t>
            </a:r>
            <a:r>
              <a:rPr lang="en-US" sz="1800" dirty="0" smtClean="0"/>
              <a:t>-scripter: </a:t>
            </a:r>
            <a:r>
              <a:rPr lang="en-US" sz="1800" dirty="0" smtClean="0">
                <a:hlinkClick r:id="rId9"/>
              </a:rPr>
              <a:t>https</a:t>
            </a:r>
            <a:r>
              <a:rPr lang="en-US" sz="1800" dirty="0">
                <a:hlinkClick r:id="rId9"/>
              </a:rPr>
              <a:t>://</a:t>
            </a:r>
            <a:r>
              <a:rPr lang="en-US" sz="1800" dirty="0" smtClean="0">
                <a:hlinkClick r:id="rId9"/>
              </a:rPr>
              <a:t>pypi.python.org/pypi/mssql-scripter</a:t>
            </a:r>
            <a:endParaRPr lang="en-US" sz="1800" dirty="0" smtClean="0"/>
          </a:p>
          <a:p>
            <a:pPr marL="0" indent="0">
              <a:buNone/>
            </a:pPr>
            <a:r>
              <a:rPr lang="en-US" sz="1800" dirty="0" smtClean="0"/>
              <a:t>Demo </a:t>
            </a:r>
            <a:r>
              <a:rPr lang="en-US" sz="1800" dirty="0"/>
              <a:t>scripts (</a:t>
            </a:r>
            <a:r>
              <a:rPr lang="en-US" sz="1800" dirty="0" err="1"/>
              <a:t>github</a:t>
            </a:r>
            <a:r>
              <a:rPr lang="en-US" sz="1800" dirty="0" smtClean="0"/>
              <a:t>): </a:t>
            </a:r>
            <a:r>
              <a:rPr lang="en-US" sz="1800" dirty="0" smtClean="0">
                <a:hlinkClick r:id="rId10"/>
              </a:rPr>
              <a:t>https</a:t>
            </a:r>
            <a:r>
              <a:rPr lang="en-US" sz="1800" dirty="0">
                <a:hlinkClick r:id="rId10"/>
              </a:rPr>
              <a:t>://</a:t>
            </a:r>
            <a:r>
              <a:rPr lang="en-US" sz="1800" dirty="0" smtClean="0">
                <a:hlinkClick r:id="rId10"/>
              </a:rPr>
              <a:t>github.com/sanagama/sql2017-data360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1"/>
            <a:ext cx="12191999" cy="914400"/>
          </a:xfrm>
        </p:spPr>
        <p:txBody>
          <a:bodyPr>
            <a:normAutofit/>
          </a:bodyPr>
          <a:lstStyle/>
          <a:p>
            <a:r>
              <a:rPr lang="en-US" sz="5400"/>
              <a:t>Resources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9809018" y="6195654"/>
            <a:ext cx="2382981" cy="484431"/>
          </a:xfrm>
          <a:prstGeom prst="rect">
            <a:avLst/>
          </a:prstGeom>
          <a:solidFill>
            <a:srgbClr val="FFFFFF"/>
          </a:solidFill>
          <a:ln w="1079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kern="0" dirty="0" smtClean="0">
                <a:solidFill>
                  <a:srgbClr val="FFFFFF"/>
                </a:solidFill>
                <a:latin typeface="Segoe UI"/>
                <a:hlinkClick r:id="rId11"/>
              </a:rPr>
              <a:t>sanagama@microsoft.com</a:t>
            </a:r>
            <a:endParaRPr lang="en-US" sz="1600" kern="0" dirty="0">
              <a:solidFill>
                <a:srgbClr val="FFFFFF"/>
              </a:solidFill>
              <a:latin typeface="Segoe UI"/>
            </a:endParaRPr>
          </a:p>
        </p:txBody>
      </p:sp>
      <p:cxnSp>
        <p:nvCxnSpPr>
          <p:cNvPr id="6" name="Straight Arrow Connector 5"/>
          <p:cNvCxnSpPr>
            <a:cxnSpLocks/>
          </p:cNvCxnSpPr>
          <p:nvPr/>
        </p:nvCxnSpPr>
        <p:spPr>
          <a:xfrm flipV="1">
            <a:off x="5233413" y="2109338"/>
            <a:ext cx="1472185" cy="691"/>
          </a:xfrm>
          <a:prstGeom prst="straightConnector1">
            <a:avLst/>
          </a:prstGeom>
          <a:ln w="762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6429697" y="3245386"/>
            <a:ext cx="545869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/>
            <a:r>
              <a:rPr lang="en-US" sz="1600" b="1" dirty="0">
                <a:solidFill>
                  <a:srgbClr val="036CBF"/>
                </a:solidFill>
                <a:latin typeface="Segoe UI" charset="0"/>
              </a:rPr>
              <a:t>Build an app using SQL Server</a:t>
            </a:r>
          </a:p>
          <a:p>
            <a:pPr algn="ctr" fontAlgn="base"/>
            <a:r>
              <a:rPr lang="en-US" sz="1600" dirty="0">
                <a:solidFill>
                  <a:srgbClr val="000000"/>
                </a:solidFill>
                <a:latin typeface="Segoe UI" charset="0"/>
              </a:rPr>
              <a:t>Get started with SQL Server on </a:t>
            </a:r>
            <a:r>
              <a:rPr lang="en-US" sz="1600" dirty="0" err="1">
                <a:solidFill>
                  <a:srgbClr val="000000"/>
                </a:solidFill>
                <a:latin typeface="Segoe UI" charset="0"/>
              </a:rPr>
              <a:t>macOS</a:t>
            </a:r>
            <a:r>
              <a:rPr lang="en-US" sz="1600" dirty="0">
                <a:solidFill>
                  <a:srgbClr val="000000"/>
                </a:solidFill>
                <a:latin typeface="Segoe UI" charset="0"/>
              </a:rPr>
              <a:t>, Linux, and Windows.</a:t>
            </a:r>
            <a:endParaRPr lang="en-US" sz="1600" b="0" i="0" dirty="0">
              <a:solidFill>
                <a:srgbClr val="000000"/>
              </a:solidFill>
              <a:effectLst/>
              <a:latin typeface="Segoe UI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1617" y="3884256"/>
            <a:ext cx="5276771" cy="2223979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7723908" y="319169"/>
            <a:ext cx="25232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/>
            <a:r>
              <a:rPr lang="en-US" b="1">
                <a:solidFill>
                  <a:srgbClr val="036CBF"/>
                </a:solidFill>
                <a:latin typeface="Segoe UI Light" charset="0"/>
              </a:rPr>
              <a:t>DevOps using SQL Server</a:t>
            </a:r>
            <a:endParaRPr lang="en-US" b="1" i="0">
              <a:solidFill>
                <a:srgbClr val="036CBF"/>
              </a:solidFill>
              <a:effectLst/>
              <a:latin typeface="Segoe UI Light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7383" y="688501"/>
            <a:ext cx="5004460" cy="2199213"/>
          </a:xfrm>
          <a:prstGeom prst="rect">
            <a:avLst/>
          </a:prstGeom>
        </p:spPr>
      </p:pic>
      <p:cxnSp>
        <p:nvCxnSpPr>
          <p:cNvPr id="15" name="Straight Arrow Connector 14"/>
          <p:cNvCxnSpPr>
            <a:cxnSpLocks/>
          </p:cNvCxnSpPr>
          <p:nvPr/>
        </p:nvCxnSpPr>
        <p:spPr>
          <a:xfrm>
            <a:off x="5233414" y="2541752"/>
            <a:ext cx="1472185" cy="904139"/>
          </a:xfrm>
          <a:prstGeom prst="straightConnector1">
            <a:avLst/>
          </a:prstGeom>
          <a:ln w="762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50168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55546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94537" y="1113235"/>
            <a:ext cx="8964185" cy="2017891"/>
          </a:xfrm>
        </p:spPr>
        <p:txBody>
          <a:bodyPr/>
          <a:lstStyle/>
          <a:p>
            <a:r>
              <a:rPr lang="en-US" sz="4313" dirty="0"/>
              <a:t>Platform of </a:t>
            </a:r>
            <a:r>
              <a:rPr lang="en-US" sz="4313"/>
              <a:t>your </a:t>
            </a:r>
            <a:r>
              <a:rPr lang="en-US" sz="4313" smtClean="0"/>
              <a:t>choice:</a:t>
            </a:r>
            <a:br>
              <a:rPr lang="en-US" sz="4313" smtClean="0"/>
            </a:br>
            <a:r>
              <a:rPr lang="en-US" sz="4313" smtClean="0"/>
              <a:t>Freedom </a:t>
            </a:r>
            <a:r>
              <a:rPr lang="en-US" sz="4313" dirty="0"/>
              <a:t>to choose Windows, Linux or Docker Containers for SQL Server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194537" y="3503702"/>
            <a:ext cx="7470207" cy="2241076"/>
          </a:xfrm>
        </p:spPr>
        <p:txBody>
          <a:bodyPr/>
          <a:lstStyle/>
          <a:p>
            <a:r>
              <a:rPr lang="en-US" dirty="0" smtClean="0"/>
              <a:t>Sanjay Nagamangalam</a:t>
            </a:r>
            <a:endParaRPr lang="en-US" dirty="0"/>
          </a:p>
          <a:p>
            <a:r>
              <a:rPr lang="en-US" sz="2353" dirty="0"/>
              <a:t>Principal Program Manager</a:t>
            </a:r>
          </a:p>
          <a:p>
            <a:r>
              <a:rPr lang="en-US" sz="2353" dirty="0"/>
              <a:t>Database Systems Group</a:t>
            </a:r>
          </a:p>
          <a:p>
            <a:endParaRPr lang="en-US" sz="2353" dirty="0"/>
          </a:p>
          <a:p>
            <a:r>
              <a:rPr lang="en-US" sz="2353" dirty="0">
                <a:hlinkClick r:id="rId3"/>
              </a:rPr>
              <a:t>sanagama@microsoft.com</a:t>
            </a:r>
            <a:endParaRPr lang="en-US" sz="2353" dirty="0"/>
          </a:p>
          <a:p>
            <a:r>
              <a:rPr lang="en-US" sz="2353" dirty="0" smtClean="0"/>
              <a:t>Twitter: @sanagama2</a:t>
            </a:r>
            <a:endParaRPr lang="en-US" sz="2353" dirty="0"/>
          </a:p>
          <a:p>
            <a:endParaRPr lang="en-US" sz="2353" dirty="0"/>
          </a:p>
        </p:txBody>
      </p:sp>
    </p:spTree>
    <p:extLst>
      <p:ext uri="{BB962C8B-B14F-4D97-AF65-F5344CB8AC3E}">
        <p14:creationId xmlns:p14="http://schemas.microsoft.com/office/powerpoint/2010/main" val="1445903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5337652" y="487"/>
            <a:ext cx="6853483" cy="686755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6" name="Freeform: Shape 7"/>
          <p:cNvSpPr>
            <a:spLocks/>
          </p:cNvSpPr>
          <p:nvPr/>
        </p:nvSpPr>
        <p:spPr bwMode="auto">
          <a:xfrm flipH="1" flipV="1">
            <a:off x="865" y="-372"/>
            <a:ext cx="6240723" cy="6857029"/>
          </a:xfrm>
          <a:custGeom>
            <a:avLst/>
            <a:gdLst>
              <a:gd name="connsiteX0" fmla="*/ 12992763 w 12992763"/>
              <a:gd name="connsiteY0" fmla="*/ 6858002 h 6858002"/>
              <a:gd name="connsiteX1" fmla="*/ 5476196 w 12992763"/>
              <a:gd name="connsiteY1" fmla="*/ 6858002 h 6858002"/>
              <a:gd name="connsiteX2" fmla="*/ 5476195 w 12992763"/>
              <a:gd name="connsiteY2" fmla="*/ 6858002 h 6858002"/>
              <a:gd name="connsiteX3" fmla="*/ 0 w 12992763"/>
              <a:gd name="connsiteY3" fmla="*/ 6858002 h 6858002"/>
              <a:gd name="connsiteX4" fmla="*/ 1457721 w 12992763"/>
              <a:gd name="connsiteY4" fmla="*/ 0 h 6858002"/>
              <a:gd name="connsiteX5" fmla="*/ 5476195 w 12992763"/>
              <a:gd name="connsiteY5" fmla="*/ 0 h 6858002"/>
              <a:gd name="connsiteX6" fmla="*/ 5476196 w 12992763"/>
              <a:gd name="connsiteY6" fmla="*/ 0 h 6858002"/>
              <a:gd name="connsiteX7" fmla="*/ 10173934 w 12992763"/>
              <a:gd name="connsiteY7" fmla="*/ 0 h 6858002"/>
              <a:gd name="connsiteX8" fmla="*/ 10173934 w 12992763"/>
              <a:gd name="connsiteY8" fmla="*/ 6858000 h 6858002"/>
              <a:gd name="connsiteX9" fmla="*/ 12992763 w 12992763"/>
              <a:gd name="connsiteY9" fmla="*/ 6858000 h 6858002"/>
              <a:gd name="connsiteX0" fmla="*/ 12992763 w 12992763"/>
              <a:gd name="connsiteY0" fmla="*/ 6858000 h 6858002"/>
              <a:gd name="connsiteX1" fmla="*/ 5476196 w 12992763"/>
              <a:gd name="connsiteY1" fmla="*/ 6858002 h 6858002"/>
              <a:gd name="connsiteX2" fmla="*/ 5476195 w 12992763"/>
              <a:gd name="connsiteY2" fmla="*/ 6858002 h 6858002"/>
              <a:gd name="connsiteX3" fmla="*/ 0 w 12992763"/>
              <a:gd name="connsiteY3" fmla="*/ 6858002 h 6858002"/>
              <a:gd name="connsiteX4" fmla="*/ 1457721 w 12992763"/>
              <a:gd name="connsiteY4" fmla="*/ 0 h 6858002"/>
              <a:gd name="connsiteX5" fmla="*/ 5476195 w 12992763"/>
              <a:gd name="connsiteY5" fmla="*/ 0 h 6858002"/>
              <a:gd name="connsiteX6" fmla="*/ 5476196 w 12992763"/>
              <a:gd name="connsiteY6" fmla="*/ 0 h 6858002"/>
              <a:gd name="connsiteX7" fmla="*/ 10173934 w 12992763"/>
              <a:gd name="connsiteY7" fmla="*/ 0 h 6858002"/>
              <a:gd name="connsiteX8" fmla="*/ 10173934 w 12992763"/>
              <a:gd name="connsiteY8" fmla="*/ 6858000 h 6858002"/>
              <a:gd name="connsiteX9" fmla="*/ 12992763 w 12992763"/>
              <a:gd name="connsiteY9" fmla="*/ 6858000 h 6858002"/>
              <a:gd name="connsiteX0" fmla="*/ 10173934 w 10173934"/>
              <a:gd name="connsiteY0" fmla="*/ 6858000 h 6858002"/>
              <a:gd name="connsiteX1" fmla="*/ 5476196 w 10173934"/>
              <a:gd name="connsiteY1" fmla="*/ 6858002 h 6858002"/>
              <a:gd name="connsiteX2" fmla="*/ 5476195 w 10173934"/>
              <a:gd name="connsiteY2" fmla="*/ 6858002 h 6858002"/>
              <a:gd name="connsiteX3" fmla="*/ 0 w 10173934"/>
              <a:gd name="connsiteY3" fmla="*/ 6858002 h 6858002"/>
              <a:gd name="connsiteX4" fmla="*/ 1457721 w 10173934"/>
              <a:gd name="connsiteY4" fmla="*/ 0 h 6858002"/>
              <a:gd name="connsiteX5" fmla="*/ 5476195 w 10173934"/>
              <a:gd name="connsiteY5" fmla="*/ 0 h 6858002"/>
              <a:gd name="connsiteX6" fmla="*/ 5476196 w 10173934"/>
              <a:gd name="connsiteY6" fmla="*/ 0 h 6858002"/>
              <a:gd name="connsiteX7" fmla="*/ 10173934 w 10173934"/>
              <a:gd name="connsiteY7" fmla="*/ 0 h 6858002"/>
              <a:gd name="connsiteX8" fmla="*/ 10173934 w 10173934"/>
              <a:gd name="connsiteY8" fmla="*/ 6858000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173934" h="6858002">
                <a:moveTo>
                  <a:pt x="10173934" y="6858000"/>
                </a:moveTo>
                <a:lnTo>
                  <a:pt x="5476196" y="6858002"/>
                </a:lnTo>
                <a:lnTo>
                  <a:pt x="5476195" y="6858002"/>
                </a:lnTo>
                <a:lnTo>
                  <a:pt x="0" y="6858002"/>
                </a:lnTo>
                <a:lnTo>
                  <a:pt x="1457721" y="0"/>
                </a:lnTo>
                <a:lnTo>
                  <a:pt x="5476195" y="0"/>
                </a:lnTo>
                <a:lnTo>
                  <a:pt x="5476196" y="0"/>
                </a:lnTo>
                <a:lnTo>
                  <a:pt x="10173934" y="0"/>
                </a:lnTo>
                <a:lnTo>
                  <a:pt x="10173934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14225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3" name="Rectangle 1" hidden="1"/>
          <p:cNvSpPr/>
          <p:nvPr/>
        </p:nvSpPr>
        <p:spPr bwMode="auto">
          <a:xfrm rot="16200000">
            <a:off x="2666824" y="-2665797"/>
            <a:ext cx="6856677" cy="12190215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67000"/>
                </a:srgbClr>
              </a:gs>
              <a:gs pos="100000">
                <a:srgbClr val="FFFFFF">
                  <a:alpha val="92000"/>
                </a:srgbClr>
              </a:gs>
              <a:gs pos="1000">
                <a:schemeClr val="bg1">
                  <a:alpha val="37000"/>
                </a:scheme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89526" tIns="44762" rIns="89526" bIns="179161" numCol="1" rtlCol="0" anchor="b" anchorCtr="0" compatLnSpc="1">
            <a:prstTxWarp prst="textNoShape">
              <a:avLst/>
            </a:prstTxWarp>
          </a:bodyPr>
          <a:lstStyle/>
          <a:p>
            <a:pPr algn="ctr" defTabSz="89473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252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104" y="335048"/>
            <a:ext cx="4472397" cy="892299"/>
          </a:xfrm>
        </p:spPr>
        <p:txBody>
          <a:bodyPr>
            <a:noAutofit/>
          </a:bodyPr>
          <a:lstStyle/>
          <a:p>
            <a:r>
              <a:rPr lang="en-US" sz="4700" dirty="0">
                <a:solidFill>
                  <a:schemeClr val="tx1"/>
                </a:solidFill>
              </a:rPr>
              <a:t>Businesses </a:t>
            </a:r>
            <a:br>
              <a:rPr lang="en-US" sz="4700" dirty="0">
                <a:solidFill>
                  <a:schemeClr val="tx1"/>
                </a:solidFill>
              </a:rPr>
            </a:br>
            <a:r>
              <a:rPr lang="en-US" sz="4700" dirty="0">
                <a:solidFill>
                  <a:schemeClr val="tx1"/>
                </a:solidFill>
              </a:rPr>
              <a:t>are embracing choice</a:t>
            </a:r>
          </a:p>
        </p:txBody>
      </p:sp>
      <p:sp>
        <p:nvSpPr>
          <p:cNvPr id="19" name="Freeform 130"/>
          <p:cNvSpPr>
            <a:spLocks noChangeAspect="1" noEditPoints="1"/>
          </p:cNvSpPr>
          <p:nvPr/>
        </p:nvSpPr>
        <p:spPr bwMode="black">
          <a:xfrm>
            <a:off x="9999574" y="1193440"/>
            <a:ext cx="579321" cy="576969"/>
          </a:xfrm>
          <a:custGeom>
            <a:avLst/>
            <a:gdLst>
              <a:gd name="T0" fmla="*/ 112 w 246"/>
              <a:gd name="T1" fmla="*/ 19 h 245"/>
              <a:gd name="T2" fmla="*/ 246 w 246"/>
              <a:gd name="T3" fmla="*/ 0 h 245"/>
              <a:gd name="T4" fmla="*/ 246 w 246"/>
              <a:gd name="T5" fmla="*/ 116 h 245"/>
              <a:gd name="T6" fmla="*/ 112 w 246"/>
              <a:gd name="T7" fmla="*/ 116 h 245"/>
              <a:gd name="T8" fmla="*/ 112 w 246"/>
              <a:gd name="T9" fmla="*/ 19 h 245"/>
              <a:gd name="T10" fmla="*/ 102 w 246"/>
              <a:gd name="T11" fmla="*/ 116 h 245"/>
              <a:gd name="T12" fmla="*/ 102 w 246"/>
              <a:gd name="T13" fmla="*/ 19 h 245"/>
              <a:gd name="T14" fmla="*/ 0 w 246"/>
              <a:gd name="T15" fmla="*/ 34 h 245"/>
              <a:gd name="T16" fmla="*/ 0 w 246"/>
              <a:gd name="T17" fmla="*/ 116 h 245"/>
              <a:gd name="T18" fmla="*/ 102 w 246"/>
              <a:gd name="T19" fmla="*/ 116 h 245"/>
              <a:gd name="T20" fmla="*/ 102 w 246"/>
              <a:gd name="T21" fmla="*/ 126 h 245"/>
              <a:gd name="T22" fmla="*/ 0 w 246"/>
              <a:gd name="T23" fmla="*/ 126 h 245"/>
              <a:gd name="T24" fmla="*/ 0 w 246"/>
              <a:gd name="T25" fmla="*/ 211 h 245"/>
              <a:gd name="T26" fmla="*/ 102 w 246"/>
              <a:gd name="T27" fmla="*/ 226 h 245"/>
              <a:gd name="T28" fmla="*/ 102 w 246"/>
              <a:gd name="T29" fmla="*/ 126 h 245"/>
              <a:gd name="T30" fmla="*/ 112 w 246"/>
              <a:gd name="T31" fmla="*/ 126 h 245"/>
              <a:gd name="T32" fmla="*/ 112 w 246"/>
              <a:gd name="T33" fmla="*/ 226 h 245"/>
              <a:gd name="T34" fmla="*/ 246 w 246"/>
              <a:gd name="T35" fmla="*/ 245 h 245"/>
              <a:gd name="T36" fmla="*/ 246 w 246"/>
              <a:gd name="T37" fmla="*/ 126 h 245"/>
              <a:gd name="T38" fmla="*/ 112 w 246"/>
              <a:gd name="T39" fmla="*/ 126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46" h="245">
                <a:moveTo>
                  <a:pt x="112" y="19"/>
                </a:moveTo>
                <a:lnTo>
                  <a:pt x="246" y="0"/>
                </a:lnTo>
                <a:lnTo>
                  <a:pt x="246" y="116"/>
                </a:lnTo>
                <a:lnTo>
                  <a:pt x="112" y="116"/>
                </a:lnTo>
                <a:lnTo>
                  <a:pt x="112" y="19"/>
                </a:lnTo>
                <a:close/>
                <a:moveTo>
                  <a:pt x="102" y="116"/>
                </a:moveTo>
                <a:lnTo>
                  <a:pt x="102" y="19"/>
                </a:lnTo>
                <a:lnTo>
                  <a:pt x="0" y="34"/>
                </a:lnTo>
                <a:lnTo>
                  <a:pt x="0" y="116"/>
                </a:lnTo>
                <a:lnTo>
                  <a:pt x="102" y="116"/>
                </a:lnTo>
                <a:close/>
                <a:moveTo>
                  <a:pt x="102" y="126"/>
                </a:moveTo>
                <a:lnTo>
                  <a:pt x="0" y="126"/>
                </a:lnTo>
                <a:lnTo>
                  <a:pt x="0" y="211"/>
                </a:lnTo>
                <a:lnTo>
                  <a:pt x="102" y="226"/>
                </a:lnTo>
                <a:lnTo>
                  <a:pt x="102" y="126"/>
                </a:lnTo>
                <a:close/>
                <a:moveTo>
                  <a:pt x="112" y="126"/>
                </a:moveTo>
                <a:lnTo>
                  <a:pt x="112" y="226"/>
                </a:lnTo>
                <a:lnTo>
                  <a:pt x="246" y="245"/>
                </a:lnTo>
                <a:lnTo>
                  <a:pt x="246" y="126"/>
                </a:lnTo>
                <a:lnTo>
                  <a:pt x="112" y="126"/>
                </a:lnTo>
                <a:close/>
              </a:path>
            </a:pathLst>
          </a:custGeom>
          <a:solidFill>
            <a:srgbClr val="0073D1"/>
          </a:solidFill>
          <a:ln>
            <a:noFill/>
          </a:ln>
          <a:extLst/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defTabSz="914192">
              <a:defRPr/>
            </a:pPr>
            <a:endParaRPr lang="en-US" sz="1765" kern="0" dirty="0">
              <a:solidFill>
                <a:prstClr val="white"/>
              </a:solidFill>
            </a:endParaRPr>
          </a:p>
        </p:txBody>
      </p:sp>
      <p:sp>
        <p:nvSpPr>
          <p:cNvPr id="21" name="Freeform: Shape 390"/>
          <p:cNvSpPr/>
          <p:nvPr/>
        </p:nvSpPr>
        <p:spPr>
          <a:xfrm>
            <a:off x="10845336" y="1223768"/>
            <a:ext cx="815955" cy="516314"/>
          </a:xfrm>
          <a:custGeom>
            <a:avLst/>
            <a:gdLst>
              <a:gd name="connsiteX0" fmla="*/ 1849531 w 7529578"/>
              <a:gd name="connsiteY0" fmla="*/ 3903502 h 4764516"/>
              <a:gd name="connsiteX1" fmla="*/ 1273554 w 7529578"/>
              <a:gd name="connsiteY1" fmla="*/ 3987984 h 4764516"/>
              <a:gd name="connsiteX2" fmla="*/ 1013662 w 7529578"/>
              <a:gd name="connsiteY2" fmla="*/ 3995024 h 4764516"/>
              <a:gd name="connsiteX3" fmla="*/ 676505 w 7529578"/>
              <a:gd name="connsiteY3" fmla="*/ 3987984 h 4764516"/>
              <a:gd name="connsiteX4" fmla="*/ 2439556 w 7529578"/>
              <a:gd name="connsiteY4" fmla="*/ 4677914 h 4764516"/>
              <a:gd name="connsiteX5" fmla="*/ 2636231 w 7529578"/>
              <a:gd name="connsiteY5" fmla="*/ 4677914 h 4764516"/>
              <a:gd name="connsiteX6" fmla="*/ 1849531 w 7529578"/>
              <a:gd name="connsiteY6" fmla="*/ 3903502 h 4764516"/>
              <a:gd name="connsiteX7" fmla="*/ 2161836 w 7529578"/>
              <a:gd name="connsiteY7" fmla="*/ 3452194 h 4764516"/>
              <a:gd name="connsiteX8" fmla="*/ 2209829 w 7529578"/>
              <a:gd name="connsiteY8" fmla="*/ 3459914 h 4764516"/>
              <a:gd name="connsiteX9" fmla="*/ 2185833 w 7529578"/>
              <a:gd name="connsiteY9" fmla="*/ 3506232 h 4764516"/>
              <a:gd name="connsiteX10" fmla="*/ 2241825 w 7529578"/>
              <a:gd name="connsiteY10" fmla="*/ 3560270 h 4764516"/>
              <a:gd name="connsiteX11" fmla="*/ 2289818 w 7529578"/>
              <a:gd name="connsiteY11" fmla="*/ 3529391 h 4764516"/>
              <a:gd name="connsiteX12" fmla="*/ 2297817 w 7529578"/>
              <a:gd name="connsiteY12" fmla="*/ 3583429 h 4764516"/>
              <a:gd name="connsiteX13" fmla="*/ 2161836 w 7529578"/>
              <a:gd name="connsiteY13" fmla="*/ 3714663 h 4764516"/>
              <a:gd name="connsiteX14" fmla="*/ 2017856 w 7529578"/>
              <a:gd name="connsiteY14" fmla="*/ 3583429 h 4764516"/>
              <a:gd name="connsiteX15" fmla="*/ 2161836 w 7529578"/>
              <a:gd name="connsiteY15" fmla="*/ 3452194 h 4764516"/>
              <a:gd name="connsiteX16" fmla="*/ 2157831 w 7529578"/>
              <a:gd name="connsiteY16" fmla="*/ 3399707 h 4764516"/>
              <a:gd name="connsiteX17" fmla="*/ 1965358 w 7529578"/>
              <a:gd name="connsiteY17" fmla="*/ 3583434 h 4764516"/>
              <a:gd name="connsiteX18" fmla="*/ 2157831 w 7529578"/>
              <a:gd name="connsiteY18" fmla="*/ 3767161 h 4764516"/>
              <a:gd name="connsiteX19" fmla="*/ 2350304 w 7529578"/>
              <a:gd name="connsiteY19" fmla="*/ 3583434 h 4764516"/>
              <a:gd name="connsiteX20" fmla="*/ 2157831 w 7529578"/>
              <a:gd name="connsiteY20" fmla="*/ 3399707 h 4764516"/>
              <a:gd name="connsiteX21" fmla="*/ 3907591 w 7529578"/>
              <a:gd name="connsiteY21" fmla="*/ 1579947 h 4764516"/>
              <a:gd name="connsiteX22" fmla="*/ 4607493 w 7529578"/>
              <a:gd name="connsiteY22" fmla="*/ 1579947 h 4764516"/>
              <a:gd name="connsiteX23" fmla="*/ 4607493 w 7529578"/>
              <a:gd name="connsiteY23" fmla="*/ 2279850 h 4764516"/>
              <a:gd name="connsiteX24" fmla="*/ 3907591 w 7529578"/>
              <a:gd name="connsiteY24" fmla="*/ 2279850 h 4764516"/>
              <a:gd name="connsiteX25" fmla="*/ 3102704 w 7529578"/>
              <a:gd name="connsiteY25" fmla="*/ 1579947 h 4764516"/>
              <a:gd name="connsiteX26" fmla="*/ 3802606 w 7529578"/>
              <a:gd name="connsiteY26" fmla="*/ 1579947 h 4764516"/>
              <a:gd name="connsiteX27" fmla="*/ 3802606 w 7529578"/>
              <a:gd name="connsiteY27" fmla="*/ 2279850 h 4764516"/>
              <a:gd name="connsiteX28" fmla="*/ 3102704 w 7529578"/>
              <a:gd name="connsiteY28" fmla="*/ 2279850 h 4764516"/>
              <a:gd name="connsiteX29" fmla="*/ 2315309 w 7529578"/>
              <a:gd name="connsiteY29" fmla="*/ 1579947 h 4764516"/>
              <a:gd name="connsiteX30" fmla="*/ 3015211 w 7529578"/>
              <a:gd name="connsiteY30" fmla="*/ 1579947 h 4764516"/>
              <a:gd name="connsiteX31" fmla="*/ 3015211 w 7529578"/>
              <a:gd name="connsiteY31" fmla="*/ 2279850 h 4764516"/>
              <a:gd name="connsiteX32" fmla="*/ 2315309 w 7529578"/>
              <a:gd name="connsiteY32" fmla="*/ 2279850 h 4764516"/>
              <a:gd name="connsiteX33" fmla="*/ 1510422 w 7529578"/>
              <a:gd name="connsiteY33" fmla="*/ 1579947 h 4764516"/>
              <a:gd name="connsiteX34" fmla="*/ 2210324 w 7529578"/>
              <a:gd name="connsiteY34" fmla="*/ 1579947 h 4764516"/>
              <a:gd name="connsiteX35" fmla="*/ 2210324 w 7529578"/>
              <a:gd name="connsiteY35" fmla="*/ 2279850 h 4764516"/>
              <a:gd name="connsiteX36" fmla="*/ 1510422 w 7529578"/>
              <a:gd name="connsiteY36" fmla="*/ 2279850 h 4764516"/>
              <a:gd name="connsiteX37" fmla="*/ 705534 w 7529578"/>
              <a:gd name="connsiteY37" fmla="*/ 1579947 h 4764516"/>
              <a:gd name="connsiteX38" fmla="*/ 1405436 w 7529578"/>
              <a:gd name="connsiteY38" fmla="*/ 1579947 h 4764516"/>
              <a:gd name="connsiteX39" fmla="*/ 1405436 w 7529578"/>
              <a:gd name="connsiteY39" fmla="*/ 2279850 h 4764516"/>
              <a:gd name="connsiteX40" fmla="*/ 705534 w 7529578"/>
              <a:gd name="connsiteY40" fmla="*/ 2279850 h 4764516"/>
              <a:gd name="connsiteX41" fmla="*/ 6082271 w 7529578"/>
              <a:gd name="connsiteY41" fmla="*/ 862558 h 4764516"/>
              <a:gd name="connsiteX42" fmla="*/ 6535589 w 7529578"/>
              <a:gd name="connsiteY42" fmla="*/ 1754155 h 4764516"/>
              <a:gd name="connsiteX43" fmla="*/ 7529578 w 7529578"/>
              <a:gd name="connsiteY43" fmla="*/ 1761959 h 4764516"/>
              <a:gd name="connsiteX44" fmla="*/ 6394775 w 7529578"/>
              <a:gd name="connsiteY44" fmla="*/ 2238778 h 4764516"/>
              <a:gd name="connsiteX45" fmla="*/ 2451200 w 7529578"/>
              <a:gd name="connsiteY45" fmla="*/ 4764516 h 4764516"/>
              <a:gd name="connsiteX46" fmla="*/ 518946 w 7529578"/>
              <a:gd name="connsiteY46" fmla="*/ 4005975 h 4764516"/>
              <a:gd name="connsiteX47" fmla="*/ 518946 w 7529578"/>
              <a:gd name="connsiteY47" fmla="*/ 3998172 h 4764516"/>
              <a:gd name="connsiteX48" fmla="*/ 400721 w 7529578"/>
              <a:gd name="connsiteY48" fmla="*/ 3872918 h 4764516"/>
              <a:gd name="connsiteX49" fmla="*/ 283250 w 7529578"/>
              <a:gd name="connsiteY49" fmla="*/ 3693428 h 4764516"/>
              <a:gd name="connsiteX50" fmla="*/ 220749 w 7529578"/>
              <a:gd name="connsiteY50" fmla="*/ 3583783 h 4764516"/>
              <a:gd name="connsiteX51" fmla="*/ 9903 w 7529578"/>
              <a:gd name="connsiteY51" fmla="*/ 2403051 h 4764516"/>
              <a:gd name="connsiteX52" fmla="*/ 5143252 w 7529578"/>
              <a:gd name="connsiteY52" fmla="*/ 2403051 h 4764516"/>
              <a:gd name="connsiteX53" fmla="*/ 6175645 w 7529578"/>
              <a:gd name="connsiteY53" fmla="*/ 2074506 h 4764516"/>
              <a:gd name="connsiteX54" fmla="*/ 6082271 w 7529578"/>
              <a:gd name="connsiteY54" fmla="*/ 862558 h 4764516"/>
              <a:gd name="connsiteX55" fmla="*/ 3102704 w 7529578"/>
              <a:gd name="connsiteY55" fmla="*/ 792564 h 4764516"/>
              <a:gd name="connsiteX56" fmla="*/ 3802606 w 7529578"/>
              <a:gd name="connsiteY56" fmla="*/ 792564 h 4764516"/>
              <a:gd name="connsiteX57" fmla="*/ 3802606 w 7529578"/>
              <a:gd name="connsiteY57" fmla="*/ 1492467 h 4764516"/>
              <a:gd name="connsiteX58" fmla="*/ 3102704 w 7529578"/>
              <a:gd name="connsiteY58" fmla="*/ 1492467 h 4764516"/>
              <a:gd name="connsiteX59" fmla="*/ 2315309 w 7529578"/>
              <a:gd name="connsiteY59" fmla="*/ 792564 h 4764516"/>
              <a:gd name="connsiteX60" fmla="*/ 3015211 w 7529578"/>
              <a:gd name="connsiteY60" fmla="*/ 792564 h 4764516"/>
              <a:gd name="connsiteX61" fmla="*/ 3015211 w 7529578"/>
              <a:gd name="connsiteY61" fmla="*/ 1492467 h 4764516"/>
              <a:gd name="connsiteX62" fmla="*/ 2315309 w 7529578"/>
              <a:gd name="connsiteY62" fmla="*/ 1492467 h 4764516"/>
              <a:gd name="connsiteX63" fmla="*/ 1510422 w 7529578"/>
              <a:gd name="connsiteY63" fmla="*/ 792564 h 4764516"/>
              <a:gd name="connsiteX64" fmla="*/ 2210324 w 7529578"/>
              <a:gd name="connsiteY64" fmla="*/ 792564 h 4764516"/>
              <a:gd name="connsiteX65" fmla="*/ 2210324 w 7529578"/>
              <a:gd name="connsiteY65" fmla="*/ 1492467 h 4764516"/>
              <a:gd name="connsiteX66" fmla="*/ 1510422 w 7529578"/>
              <a:gd name="connsiteY66" fmla="*/ 1492467 h 4764516"/>
              <a:gd name="connsiteX67" fmla="*/ 3102704 w 7529578"/>
              <a:gd name="connsiteY67" fmla="*/ 0 h 4764516"/>
              <a:gd name="connsiteX68" fmla="*/ 3802606 w 7529578"/>
              <a:gd name="connsiteY68" fmla="*/ 0 h 4764516"/>
              <a:gd name="connsiteX69" fmla="*/ 3802606 w 7529578"/>
              <a:gd name="connsiteY69" fmla="*/ 699903 h 4764516"/>
              <a:gd name="connsiteX70" fmla="*/ 3102704 w 7529578"/>
              <a:gd name="connsiteY70" fmla="*/ 699903 h 4764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7529578" h="4764516">
                <a:moveTo>
                  <a:pt x="1849531" y="3903502"/>
                </a:moveTo>
                <a:cubicBezTo>
                  <a:pt x="1687977" y="3945743"/>
                  <a:pt x="1498326" y="3973903"/>
                  <a:pt x="1273554" y="3987984"/>
                </a:cubicBezTo>
                <a:cubicBezTo>
                  <a:pt x="1196289" y="3995024"/>
                  <a:pt x="1104976" y="3995024"/>
                  <a:pt x="1013662" y="3995024"/>
                </a:cubicBezTo>
                <a:cubicBezTo>
                  <a:pt x="908301" y="3995024"/>
                  <a:pt x="795915" y="3995024"/>
                  <a:pt x="676505" y="3987984"/>
                </a:cubicBezTo>
                <a:cubicBezTo>
                  <a:pt x="1069855" y="4375190"/>
                  <a:pt x="1547495" y="4670874"/>
                  <a:pt x="2439556" y="4677914"/>
                </a:cubicBezTo>
                <a:cubicBezTo>
                  <a:pt x="2502773" y="4677914"/>
                  <a:pt x="2573014" y="4677914"/>
                  <a:pt x="2636231" y="4677914"/>
                </a:cubicBezTo>
                <a:cubicBezTo>
                  <a:pt x="2207761" y="4473751"/>
                  <a:pt x="1975965" y="4199187"/>
                  <a:pt x="1849531" y="3903502"/>
                </a:cubicBezTo>
                <a:close/>
                <a:moveTo>
                  <a:pt x="2161836" y="3452194"/>
                </a:moveTo>
                <a:cubicBezTo>
                  <a:pt x="2177834" y="3452194"/>
                  <a:pt x="2193832" y="3452194"/>
                  <a:pt x="2209829" y="3459914"/>
                </a:cubicBezTo>
                <a:cubicBezTo>
                  <a:pt x="2193832" y="3467633"/>
                  <a:pt x="2185833" y="3483073"/>
                  <a:pt x="2185833" y="3506232"/>
                </a:cubicBezTo>
                <a:cubicBezTo>
                  <a:pt x="2185833" y="3537111"/>
                  <a:pt x="2209829" y="3560270"/>
                  <a:pt x="2241825" y="3560270"/>
                </a:cubicBezTo>
                <a:cubicBezTo>
                  <a:pt x="2257823" y="3560270"/>
                  <a:pt x="2281819" y="3552550"/>
                  <a:pt x="2289818" y="3529391"/>
                </a:cubicBezTo>
                <a:cubicBezTo>
                  <a:pt x="2297817" y="3544830"/>
                  <a:pt x="2297817" y="3567989"/>
                  <a:pt x="2297817" y="3583429"/>
                </a:cubicBezTo>
                <a:cubicBezTo>
                  <a:pt x="2297817" y="3660626"/>
                  <a:pt x="2241825" y="3714663"/>
                  <a:pt x="2161836" y="3714663"/>
                </a:cubicBezTo>
                <a:cubicBezTo>
                  <a:pt x="2081847" y="3714663"/>
                  <a:pt x="2017856" y="3660626"/>
                  <a:pt x="2017856" y="3583429"/>
                </a:cubicBezTo>
                <a:cubicBezTo>
                  <a:pt x="2017856" y="3506232"/>
                  <a:pt x="2081847" y="3452194"/>
                  <a:pt x="2161836" y="3452194"/>
                </a:cubicBezTo>
                <a:close/>
                <a:moveTo>
                  <a:pt x="2157831" y="3399707"/>
                </a:moveTo>
                <a:cubicBezTo>
                  <a:pt x="2051531" y="3399707"/>
                  <a:pt x="1965358" y="3481964"/>
                  <a:pt x="1965358" y="3583434"/>
                </a:cubicBezTo>
                <a:cubicBezTo>
                  <a:pt x="1965358" y="3684904"/>
                  <a:pt x="2051531" y="3767161"/>
                  <a:pt x="2157831" y="3767161"/>
                </a:cubicBezTo>
                <a:cubicBezTo>
                  <a:pt x="2264131" y="3767161"/>
                  <a:pt x="2350304" y="3684904"/>
                  <a:pt x="2350304" y="3583434"/>
                </a:cubicBezTo>
                <a:cubicBezTo>
                  <a:pt x="2350304" y="3481964"/>
                  <a:pt x="2264131" y="3399707"/>
                  <a:pt x="2157831" y="3399707"/>
                </a:cubicBezTo>
                <a:close/>
                <a:moveTo>
                  <a:pt x="3907591" y="1579947"/>
                </a:moveTo>
                <a:lnTo>
                  <a:pt x="4607493" y="1579947"/>
                </a:lnTo>
                <a:lnTo>
                  <a:pt x="4607493" y="2279850"/>
                </a:lnTo>
                <a:lnTo>
                  <a:pt x="3907591" y="2279850"/>
                </a:lnTo>
                <a:close/>
                <a:moveTo>
                  <a:pt x="3102704" y="1579947"/>
                </a:moveTo>
                <a:lnTo>
                  <a:pt x="3802606" y="1579947"/>
                </a:lnTo>
                <a:lnTo>
                  <a:pt x="3802606" y="2279850"/>
                </a:lnTo>
                <a:lnTo>
                  <a:pt x="3102704" y="2279850"/>
                </a:lnTo>
                <a:close/>
                <a:moveTo>
                  <a:pt x="2315309" y="1579947"/>
                </a:moveTo>
                <a:lnTo>
                  <a:pt x="3015211" y="1579947"/>
                </a:lnTo>
                <a:lnTo>
                  <a:pt x="3015211" y="2279850"/>
                </a:lnTo>
                <a:lnTo>
                  <a:pt x="2315309" y="2279850"/>
                </a:lnTo>
                <a:close/>
                <a:moveTo>
                  <a:pt x="1510422" y="1579947"/>
                </a:moveTo>
                <a:lnTo>
                  <a:pt x="2210324" y="1579947"/>
                </a:lnTo>
                <a:lnTo>
                  <a:pt x="2210324" y="2279850"/>
                </a:lnTo>
                <a:lnTo>
                  <a:pt x="1510422" y="2279850"/>
                </a:lnTo>
                <a:close/>
                <a:moveTo>
                  <a:pt x="705534" y="1579947"/>
                </a:moveTo>
                <a:lnTo>
                  <a:pt x="1405436" y="1579947"/>
                </a:lnTo>
                <a:lnTo>
                  <a:pt x="1405436" y="2279850"/>
                </a:lnTo>
                <a:lnTo>
                  <a:pt x="705534" y="2279850"/>
                </a:lnTo>
                <a:close/>
                <a:moveTo>
                  <a:pt x="6082271" y="862558"/>
                </a:moveTo>
                <a:cubicBezTo>
                  <a:pt x="6278056" y="1019026"/>
                  <a:pt x="6590560" y="1347181"/>
                  <a:pt x="6535589" y="1754155"/>
                </a:cubicBezTo>
                <a:cubicBezTo>
                  <a:pt x="6778063" y="1636706"/>
                  <a:pt x="7200507" y="1574275"/>
                  <a:pt x="7529578" y="1761959"/>
                </a:cubicBezTo>
                <a:cubicBezTo>
                  <a:pt x="7326262" y="2168543"/>
                  <a:pt x="6872190" y="2285602"/>
                  <a:pt x="6394775" y="2238778"/>
                </a:cubicBezTo>
                <a:cubicBezTo>
                  <a:pt x="5729856" y="3982564"/>
                  <a:pt x="4226825" y="4764516"/>
                  <a:pt x="2451200" y="4764516"/>
                </a:cubicBezTo>
                <a:cubicBezTo>
                  <a:pt x="1613840" y="4764516"/>
                  <a:pt x="941391" y="4483185"/>
                  <a:pt x="518946" y="4005975"/>
                </a:cubicBezTo>
                <a:lnTo>
                  <a:pt x="518946" y="3998172"/>
                </a:lnTo>
                <a:cubicBezTo>
                  <a:pt x="499367" y="3975930"/>
                  <a:pt x="420300" y="3893989"/>
                  <a:pt x="400721" y="3872918"/>
                </a:cubicBezTo>
                <a:cubicBezTo>
                  <a:pt x="362318" y="3810487"/>
                  <a:pt x="323160" y="3748056"/>
                  <a:pt x="283250" y="3693428"/>
                </a:cubicBezTo>
                <a:cubicBezTo>
                  <a:pt x="262165" y="3656750"/>
                  <a:pt x="241834" y="3620462"/>
                  <a:pt x="220749" y="3583783"/>
                </a:cubicBezTo>
                <a:cubicBezTo>
                  <a:pt x="49061" y="3239631"/>
                  <a:pt x="-29254" y="2840851"/>
                  <a:pt x="9903" y="2403051"/>
                </a:cubicBezTo>
                <a:lnTo>
                  <a:pt x="5143252" y="2403051"/>
                </a:lnTo>
                <a:cubicBezTo>
                  <a:pt x="5565697" y="2403051"/>
                  <a:pt x="5979859" y="2246582"/>
                  <a:pt x="6175645" y="2074506"/>
                </a:cubicBezTo>
                <a:cubicBezTo>
                  <a:pt x="5823231" y="1793175"/>
                  <a:pt x="5863141" y="1120477"/>
                  <a:pt x="6082271" y="862558"/>
                </a:cubicBezTo>
                <a:close/>
                <a:moveTo>
                  <a:pt x="3102704" y="792564"/>
                </a:moveTo>
                <a:lnTo>
                  <a:pt x="3802606" y="792564"/>
                </a:lnTo>
                <a:lnTo>
                  <a:pt x="3802606" y="1492467"/>
                </a:lnTo>
                <a:lnTo>
                  <a:pt x="3102704" y="1492467"/>
                </a:lnTo>
                <a:close/>
                <a:moveTo>
                  <a:pt x="2315309" y="792564"/>
                </a:moveTo>
                <a:lnTo>
                  <a:pt x="3015211" y="792564"/>
                </a:lnTo>
                <a:lnTo>
                  <a:pt x="3015211" y="1492467"/>
                </a:lnTo>
                <a:lnTo>
                  <a:pt x="2315309" y="1492467"/>
                </a:lnTo>
                <a:close/>
                <a:moveTo>
                  <a:pt x="1510422" y="792564"/>
                </a:moveTo>
                <a:lnTo>
                  <a:pt x="2210324" y="792564"/>
                </a:lnTo>
                <a:lnTo>
                  <a:pt x="2210324" y="1492467"/>
                </a:lnTo>
                <a:lnTo>
                  <a:pt x="1510422" y="1492467"/>
                </a:lnTo>
                <a:close/>
                <a:moveTo>
                  <a:pt x="3102704" y="0"/>
                </a:moveTo>
                <a:lnTo>
                  <a:pt x="3802606" y="0"/>
                </a:lnTo>
                <a:lnTo>
                  <a:pt x="3802606" y="699903"/>
                </a:lnTo>
                <a:lnTo>
                  <a:pt x="3102704" y="69990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kern="0" dirty="0">
              <a:solidFill>
                <a:prstClr val="white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9153610" y="2400088"/>
            <a:ext cx="2773810" cy="577294"/>
            <a:chOff x="8994821" y="2365217"/>
            <a:chExt cx="2774204" cy="577376"/>
          </a:xfrm>
        </p:grpSpPr>
        <p:sp>
          <p:nvSpPr>
            <p:cNvPr id="36" name="Rectangle 35"/>
            <p:cNvSpPr/>
            <p:nvPr/>
          </p:nvSpPr>
          <p:spPr bwMode="auto">
            <a:xfrm>
              <a:off x="9827616" y="2365217"/>
              <a:ext cx="459122" cy="577376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1" kern="0" dirty="0">
                  <a:solidFill>
                    <a:prstClr val="white"/>
                  </a:solidFill>
                  <a:ea typeface="Segoe UI" pitchFamily="34" charset="0"/>
                  <a:cs typeface="Segoe UI" pitchFamily="34" charset="0"/>
                </a:rPr>
                <a:t>101001010010</a:t>
              </a:r>
            </a:p>
          </p:txBody>
        </p:sp>
        <p:sp>
          <p:nvSpPr>
            <p:cNvPr id="37" name="Freeform 139">
              <a:hlinkClick r:id="rId3"/>
            </p:cNvPr>
            <p:cNvSpPr/>
            <p:nvPr/>
          </p:nvSpPr>
          <p:spPr>
            <a:xfrm>
              <a:off x="8994821" y="2411837"/>
              <a:ext cx="674252" cy="484137"/>
            </a:xfrm>
            <a:custGeom>
              <a:avLst/>
              <a:gdLst>
                <a:gd name="connsiteX0" fmla="*/ 3620186 w 5996789"/>
                <a:gd name="connsiteY0" fmla="*/ 3312946 h 4305921"/>
                <a:gd name="connsiteX1" fmla="*/ 3776214 w 5996789"/>
                <a:gd name="connsiteY1" fmla="*/ 3646776 h 4305921"/>
                <a:gd name="connsiteX2" fmla="*/ 3756257 w 5996789"/>
                <a:gd name="connsiteY2" fmla="*/ 3915289 h 4305921"/>
                <a:gd name="connsiteX3" fmla="*/ 3816129 w 5996789"/>
                <a:gd name="connsiteY3" fmla="*/ 4107603 h 4305921"/>
                <a:gd name="connsiteX4" fmla="*/ 3482300 w 5996789"/>
                <a:gd name="connsiteY4" fmla="*/ 4180175 h 4305921"/>
                <a:gd name="connsiteX5" fmla="*/ 3148472 w 5996789"/>
                <a:gd name="connsiteY5" fmla="*/ 4111232 h 4305921"/>
                <a:gd name="connsiteX6" fmla="*/ 3620186 w 5996789"/>
                <a:gd name="connsiteY6" fmla="*/ 3312946 h 4305921"/>
                <a:gd name="connsiteX7" fmla="*/ 365356 w 5996789"/>
                <a:gd name="connsiteY7" fmla="*/ 2979119 h 4305921"/>
                <a:gd name="connsiteX8" fmla="*/ 706442 w 5996789"/>
                <a:gd name="connsiteY8" fmla="*/ 3683062 h 4305921"/>
                <a:gd name="connsiteX9" fmla="*/ 525013 w 5996789"/>
                <a:gd name="connsiteY9" fmla="*/ 3830018 h 4305921"/>
                <a:gd name="connsiteX10" fmla="*/ 87771 w 5996789"/>
                <a:gd name="connsiteY10" fmla="*/ 3390962 h 4305921"/>
                <a:gd name="connsiteX11" fmla="*/ 365356 w 5996789"/>
                <a:gd name="connsiteY11" fmla="*/ 2979119 h 4305921"/>
                <a:gd name="connsiteX12" fmla="*/ 4139073 w 5996789"/>
                <a:gd name="connsiteY12" fmla="*/ 1036923 h 4305921"/>
                <a:gd name="connsiteX13" fmla="*/ 3651029 w 5996789"/>
                <a:gd name="connsiteY13" fmla="*/ 1406131 h 4305921"/>
                <a:gd name="connsiteX14" fmla="*/ 3748999 w 5996789"/>
                <a:gd name="connsiteY14" fmla="*/ 1323583 h 4305921"/>
                <a:gd name="connsiteX15" fmla="*/ 3907276 w 5996789"/>
                <a:gd name="connsiteY15" fmla="*/ 1465171 h 4305921"/>
                <a:gd name="connsiteX16" fmla="*/ 3805244 w 5996789"/>
                <a:gd name="connsiteY16" fmla="*/ 1620218 h 4305921"/>
                <a:gd name="connsiteX17" fmla="*/ 4338644 w 5996789"/>
                <a:gd name="connsiteY17" fmla="*/ 1230145 h 4305921"/>
                <a:gd name="connsiteX18" fmla="*/ 4198682 w 5996789"/>
                <a:gd name="connsiteY18" fmla="*/ 1265252 h 4305921"/>
                <a:gd name="connsiteX19" fmla="*/ 4057883 w 5996789"/>
                <a:gd name="connsiteY19" fmla="*/ 1094980 h 4305921"/>
                <a:gd name="connsiteX20" fmla="*/ 4139073 w 5996789"/>
                <a:gd name="connsiteY20" fmla="*/ 1036923 h 4305921"/>
                <a:gd name="connsiteX21" fmla="*/ 3598662 w 5996789"/>
                <a:gd name="connsiteY21" fmla="*/ 703111 h 4305921"/>
                <a:gd name="connsiteX22" fmla="*/ 3426057 w 5996789"/>
                <a:gd name="connsiteY22" fmla="*/ 1114030 h 4305921"/>
                <a:gd name="connsiteX23" fmla="*/ 3810686 w 5996789"/>
                <a:gd name="connsiteY23" fmla="*/ 729401 h 4305921"/>
                <a:gd name="connsiteX24" fmla="*/ 3645133 w 5996789"/>
                <a:gd name="connsiteY24" fmla="*/ 703859 h 4305921"/>
                <a:gd name="connsiteX25" fmla="*/ 3598662 w 5996789"/>
                <a:gd name="connsiteY25" fmla="*/ 703111 h 4305921"/>
                <a:gd name="connsiteX26" fmla="*/ 5685617 w 5996789"/>
                <a:gd name="connsiteY26" fmla="*/ 254049 h 4305921"/>
                <a:gd name="connsiteX27" fmla="*/ 5497832 w 5996789"/>
                <a:gd name="connsiteY27" fmla="*/ 442881 h 4305921"/>
                <a:gd name="connsiteX28" fmla="*/ 5271218 w 5996789"/>
                <a:gd name="connsiteY28" fmla="*/ 577718 h 4305921"/>
                <a:gd name="connsiteX29" fmla="*/ 5518876 w 5996789"/>
                <a:gd name="connsiteY29" fmla="*/ 537204 h 4305921"/>
                <a:gd name="connsiteX30" fmla="*/ 5685617 w 5996789"/>
                <a:gd name="connsiteY30" fmla="*/ 254049 h 4305921"/>
                <a:gd name="connsiteX31" fmla="*/ 3607485 w 5996789"/>
                <a:gd name="connsiteY31" fmla="*/ 63 h 4305921"/>
                <a:gd name="connsiteX32" fmla="*/ 4469272 w 5996789"/>
                <a:gd name="connsiteY32" fmla="*/ 528019 h 4305921"/>
                <a:gd name="connsiteX33" fmla="*/ 4312109 w 5996789"/>
                <a:gd name="connsiteY33" fmla="*/ 576495 h 4305921"/>
                <a:gd name="connsiteX34" fmla="*/ 4311926 w 5996789"/>
                <a:gd name="connsiteY34" fmla="*/ 576976 h 4305921"/>
                <a:gd name="connsiteX35" fmla="*/ 4334277 w 5996789"/>
                <a:gd name="connsiteY35" fmla="*/ 578166 h 4305921"/>
                <a:gd name="connsiteX36" fmla="*/ 4576315 w 5996789"/>
                <a:gd name="connsiteY36" fmla="*/ 607845 h 4305921"/>
                <a:gd name="connsiteX37" fmla="*/ 4808543 w 5996789"/>
                <a:gd name="connsiteY37" fmla="*/ 903574 h 4305921"/>
                <a:gd name="connsiteX38" fmla="*/ 4579944 w 5996789"/>
                <a:gd name="connsiteY38" fmla="*/ 956188 h 4305921"/>
                <a:gd name="connsiteX39" fmla="*/ 4532643 w 5996789"/>
                <a:gd name="connsiteY39" fmla="*/ 970068 h 4305921"/>
                <a:gd name="connsiteX40" fmla="*/ 4501091 w 5996789"/>
                <a:gd name="connsiteY40" fmla="*/ 981396 h 4305921"/>
                <a:gd name="connsiteX41" fmla="*/ 4539462 w 5996789"/>
                <a:gd name="connsiteY41" fmla="*/ 981135 h 4305921"/>
                <a:gd name="connsiteX42" fmla="*/ 4677915 w 5996789"/>
                <a:gd name="connsiteY42" fmla="*/ 1045089 h 4305921"/>
                <a:gd name="connsiteX43" fmla="*/ 4608972 w 5996789"/>
                <a:gd name="connsiteY43" fmla="*/ 1202932 h 4305921"/>
                <a:gd name="connsiteX44" fmla="*/ 4848457 w 5996789"/>
                <a:gd name="connsiteY44" fmla="*/ 1204746 h 4305921"/>
                <a:gd name="connsiteX45" fmla="*/ 4821243 w 5996789"/>
                <a:gd name="connsiteY45" fmla="*/ 1417018 h 4305921"/>
                <a:gd name="connsiteX46" fmla="*/ 5077057 w 5996789"/>
                <a:gd name="connsiteY46" fmla="*/ 1368032 h 4305921"/>
                <a:gd name="connsiteX47" fmla="*/ 5011488 w 5996789"/>
                <a:gd name="connsiteY47" fmla="*/ 1756176 h 4305921"/>
                <a:gd name="connsiteX48" fmla="*/ 5005149 w 5996789"/>
                <a:gd name="connsiteY48" fmla="*/ 1768400 h 4305921"/>
                <a:gd name="connsiteX49" fmla="*/ 5035260 w 5996789"/>
                <a:gd name="connsiteY49" fmla="*/ 1744642 h 4305921"/>
                <a:gd name="connsiteX50" fmla="*/ 5207688 w 5996789"/>
                <a:gd name="connsiteY50" fmla="*/ 508059 h 4305921"/>
                <a:gd name="connsiteX51" fmla="*/ 5483459 w 5996789"/>
                <a:gd name="connsiteY51" fmla="*/ 368360 h 4305921"/>
                <a:gd name="connsiteX52" fmla="*/ 5672145 w 5996789"/>
                <a:gd name="connsiteY52" fmla="*/ 150645 h 4305921"/>
                <a:gd name="connsiteX53" fmla="*/ 5430845 w 5996789"/>
                <a:gd name="connsiteY53" fmla="*/ 2532803 h 4305921"/>
                <a:gd name="connsiteX54" fmla="*/ 3971108 w 5996789"/>
                <a:gd name="connsiteY54" fmla="*/ 2163716 h 4305921"/>
                <a:gd name="connsiteX55" fmla="*/ 3935466 w 5996789"/>
                <a:gd name="connsiteY55" fmla="*/ 2124873 h 4305921"/>
                <a:gd name="connsiteX56" fmla="*/ 3916664 w 5996789"/>
                <a:gd name="connsiteY56" fmla="*/ 2222014 h 4305921"/>
                <a:gd name="connsiteX57" fmla="*/ 4481972 w 5996789"/>
                <a:gd name="connsiteY57" fmla="*/ 2672504 h 4305921"/>
                <a:gd name="connsiteX58" fmla="*/ 4549100 w 5996789"/>
                <a:gd name="connsiteY58" fmla="*/ 2677947 h 4305921"/>
                <a:gd name="connsiteX59" fmla="*/ 4122743 w 5996789"/>
                <a:gd name="connsiteY59" fmla="*/ 3051690 h 4305921"/>
                <a:gd name="connsiteX60" fmla="*/ 3689129 w 5996789"/>
                <a:gd name="connsiteY60" fmla="*/ 2757776 h 4305921"/>
                <a:gd name="connsiteX61" fmla="*/ 3299285 w 5996789"/>
                <a:gd name="connsiteY61" fmla="*/ 2541933 h 4305921"/>
                <a:gd name="connsiteX62" fmla="*/ 3246026 w 5996789"/>
                <a:gd name="connsiteY62" fmla="*/ 2508407 h 4305921"/>
                <a:gd name="connsiteX63" fmla="*/ 3249973 w 5996789"/>
                <a:gd name="connsiteY63" fmla="*/ 2518743 h 4305921"/>
                <a:gd name="connsiteX64" fmla="*/ 3592971 w 5996789"/>
                <a:gd name="connsiteY64" fmla="*/ 2890218 h 4305921"/>
                <a:gd name="connsiteX65" fmla="*/ 3204714 w 5996789"/>
                <a:gd name="connsiteY65" fmla="*/ 3741118 h 4305921"/>
                <a:gd name="connsiteX66" fmla="*/ 2491699 w 5996789"/>
                <a:gd name="connsiteY66" fmla="*/ 4305361 h 4305921"/>
                <a:gd name="connsiteX67" fmla="*/ 2107071 w 5996789"/>
                <a:gd name="connsiteY67" fmla="*/ 3839089 h 4305921"/>
                <a:gd name="connsiteX68" fmla="*/ 2453599 w 5996789"/>
                <a:gd name="connsiteY68" fmla="*/ 3581461 h 4305921"/>
                <a:gd name="connsiteX69" fmla="*/ 2435456 w 5996789"/>
                <a:gd name="connsiteY69" fmla="*/ 3302061 h 4305921"/>
                <a:gd name="connsiteX70" fmla="*/ 1634637 w 5996789"/>
                <a:gd name="connsiteY70" fmla="*/ 3346858 h 4305921"/>
                <a:gd name="connsiteX71" fmla="*/ 1602322 w 5996789"/>
                <a:gd name="connsiteY71" fmla="*/ 3309232 h 4305921"/>
                <a:gd name="connsiteX72" fmla="*/ 1606556 w 5996789"/>
                <a:gd name="connsiteY72" fmla="*/ 3424752 h 4305921"/>
                <a:gd name="connsiteX73" fmla="*/ 1600886 w 5996789"/>
                <a:gd name="connsiteY73" fmla="*/ 3732046 h 4305921"/>
                <a:gd name="connsiteX74" fmla="*/ 1466629 w 5996789"/>
                <a:gd name="connsiteY74" fmla="*/ 4020518 h 4305921"/>
                <a:gd name="connsiteX75" fmla="*/ 1443043 w 5996789"/>
                <a:gd name="connsiteY75" fmla="*/ 4241861 h 4305921"/>
                <a:gd name="connsiteX76" fmla="*/ 748172 w 5996789"/>
                <a:gd name="connsiteY76" fmla="*/ 4107603 h 4305921"/>
                <a:gd name="connsiteX77" fmla="*/ 815300 w 5996789"/>
                <a:gd name="connsiteY77" fmla="*/ 3877189 h 4305921"/>
                <a:gd name="connsiteX78" fmla="*/ 843790 w 5996789"/>
                <a:gd name="connsiteY78" fmla="*/ 3603771 h 4305921"/>
                <a:gd name="connsiteX79" fmla="*/ 844480 w 5996789"/>
                <a:gd name="connsiteY79" fmla="*/ 3586118 h 4305921"/>
                <a:gd name="connsiteX80" fmla="*/ 824913 w 5996789"/>
                <a:gd name="connsiteY80" fmla="*/ 3548501 h 4305921"/>
                <a:gd name="connsiteX81" fmla="*/ 454256 w 5996789"/>
                <a:gd name="connsiteY81" fmla="*/ 2111888 h 4305921"/>
                <a:gd name="connsiteX82" fmla="*/ 56504 w 5996789"/>
                <a:gd name="connsiteY82" fmla="*/ 1830221 h 4305921"/>
                <a:gd name="connsiteX83" fmla="*/ 54019 w 5996789"/>
                <a:gd name="connsiteY83" fmla="*/ 1806341 h 4305921"/>
                <a:gd name="connsiteX84" fmla="*/ 37275 w 5996789"/>
                <a:gd name="connsiteY84" fmla="*/ 1798303 h 4305921"/>
                <a:gd name="connsiteX85" fmla="*/ 243799 w 5996789"/>
                <a:gd name="connsiteY85" fmla="*/ 1386174 h 4305921"/>
                <a:gd name="connsiteX86" fmla="*/ 163929 w 5996789"/>
                <a:gd name="connsiteY86" fmla="*/ 1788332 h 4305921"/>
                <a:gd name="connsiteX87" fmla="*/ 142519 w 5996789"/>
                <a:gd name="connsiteY87" fmla="*/ 1800347 h 4305921"/>
                <a:gd name="connsiteX88" fmla="*/ 215750 w 5996789"/>
                <a:gd name="connsiteY88" fmla="*/ 1866280 h 4305921"/>
                <a:gd name="connsiteX89" fmla="*/ 1833113 w 5996789"/>
                <a:gd name="connsiteY89" fmla="*/ 909016 h 4305921"/>
                <a:gd name="connsiteX90" fmla="*/ 1221699 w 5996789"/>
                <a:gd name="connsiteY90" fmla="*/ 1841560 h 4305921"/>
                <a:gd name="connsiteX91" fmla="*/ 1566414 w 5996789"/>
                <a:gd name="connsiteY91" fmla="*/ 2387660 h 4305921"/>
                <a:gd name="connsiteX92" fmla="*/ 1443596 w 5996789"/>
                <a:gd name="connsiteY92" fmla="*/ 2565531 h 4305921"/>
                <a:gd name="connsiteX93" fmla="*/ 1408805 w 5996789"/>
                <a:gd name="connsiteY93" fmla="*/ 2623667 h 4305921"/>
                <a:gd name="connsiteX94" fmla="*/ 1418054 w 5996789"/>
                <a:gd name="connsiteY94" fmla="*/ 2635650 h 4305921"/>
                <a:gd name="connsiteX95" fmla="*/ 1869399 w 5996789"/>
                <a:gd name="connsiteY95" fmla="*/ 2993632 h 4305921"/>
                <a:gd name="connsiteX96" fmla="*/ 2661931 w 5996789"/>
                <a:gd name="connsiteY96" fmla="*/ 2671568 h 4305921"/>
                <a:gd name="connsiteX97" fmla="*/ 2673961 w 5996789"/>
                <a:gd name="connsiteY97" fmla="*/ 2670522 h 4305921"/>
                <a:gd name="connsiteX98" fmla="*/ 2693882 w 5996789"/>
                <a:gd name="connsiteY98" fmla="*/ 2665877 h 4305921"/>
                <a:gd name="connsiteX99" fmla="*/ 2830675 w 5996789"/>
                <a:gd name="connsiteY99" fmla="*/ 2670514 h 4305921"/>
                <a:gd name="connsiteX100" fmla="*/ 2846154 w 5996789"/>
                <a:gd name="connsiteY100" fmla="*/ 2674100 h 4305921"/>
                <a:gd name="connsiteX101" fmla="*/ 2901383 w 5996789"/>
                <a:gd name="connsiteY101" fmla="*/ 2682721 h 4305921"/>
                <a:gd name="connsiteX102" fmla="*/ 2955302 w 5996789"/>
                <a:gd name="connsiteY102" fmla="*/ 2696508 h 4305921"/>
                <a:gd name="connsiteX103" fmla="*/ 2997886 w 5996789"/>
                <a:gd name="connsiteY103" fmla="*/ 2703485 h 4305921"/>
                <a:gd name="connsiteX104" fmla="*/ 2983232 w 5996789"/>
                <a:gd name="connsiteY104" fmla="*/ 1129662 h 4305921"/>
                <a:gd name="connsiteX105" fmla="*/ 2857209 w 5996789"/>
                <a:gd name="connsiteY105" fmla="*/ 2524708 h 4305921"/>
                <a:gd name="connsiteX106" fmla="*/ 2505517 w 5996789"/>
                <a:gd name="connsiteY106" fmla="*/ 2559877 h 4305921"/>
                <a:gd name="connsiteX107" fmla="*/ 1956905 w 5996789"/>
                <a:gd name="connsiteY107" fmla="*/ 2831462 h 4305921"/>
                <a:gd name="connsiteX108" fmla="*/ 1635078 w 5996789"/>
                <a:gd name="connsiteY108" fmla="*/ 2641939 h 4305921"/>
                <a:gd name="connsiteX109" fmla="*/ 1977978 w 5996789"/>
                <a:gd name="connsiteY109" fmla="*/ 1932693 h 4305921"/>
                <a:gd name="connsiteX110" fmla="*/ 1684901 w 5996789"/>
                <a:gd name="connsiteY110" fmla="*/ 2266800 h 4305921"/>
                <a:gd name="connsiteX111" fmla="*/ 1402431 w 5996789"/>
                <a:gd name="connsiteY111" fmla="*/ 1820068 h 4305921"/>
                <a:gd name="connsiteX112" fmla="*/ 2341394 w 5996789"/>
                <a:gd name="connsiteY112" fmla="*/ 602123 h 4305921"/>
                <a:gd name="connsiteX113" fmla="*/ 2838365 w 5996789"/>
                <a:gd name="connsiteY113" fmla="*/ 498745 h 4305921"/>
                <a:gd name="connsiteX114" fmla="*/ 2887056 w 5996789"/>
                <a:gd name="connsiteY114" fmla="*/ 485499 h 4305921"/>
                <a:gd name="connsiteX115" fmla="*/ 2875393 w 5996789"/>
                <a:gd name="connsiteY115" fmla="*/ 483824 h 4305921"/>
                <a:gd name="connsiteX116" fmla="*/ 2587857 w 5996789"/>
                <a:gd name="connsiteY116" fmla="*/ 477219 h 4305921"/>
                <a:gd name="connsiteX117" fmla="*/ 3607485 w 5996789"/>
                <a:gd name="connsiteY117" fmla="*/ 63 h 4305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96789" h="4305921">
                  <a:moveTo>
                    <a:pt x="3620186" y="3312946"/>
                  </a:moveTo>
                  <a:cubicBezTo>
                    <a:pt x="3686709" y="3387937"/>
                    <a:pt x="3753536" y="3546386"/>
                    <a:pt x="3776214" y="3646776"/>
                  </a:cubicBezTo>
                  <a:cubicBezTo>
                    <a:pt x="3798892" y="3747166"/>
                    <a:pt x="3740533" y="3840299"/>
                    <a:pt x="3756257" y="3915289"/>
                  </a:cubicBezTo>
                  <a:cubicBezTo>
                    <a:pt x="3787099" y="3983627"/>
                    <a:pt x="3836087" y="4037451"/>
                    <a:pt x="3816129" y="4107603"/>
                  </a:cubicBezTo>
                  <a:cubicBezTo>
                    <a:pt x="3786497" y="4209505"/>
                    <a:pt x="3593576" y="4179570"/>
                    <a:pt x="3482300" y="4180175"/>
                  </a:cubicBezTo>
                  <a:cubicBezTo>
                    <a:pt x="3371024" y="4180780"/>
                    <a:pt x="3120653" y="4260608"/>
                    <a:pt x="3148472" y="4111232"/>
                  </a:cubicBezTo>
                  <a:cubicBezTo>
                    <a:pt x="3423638" y="3906823"/>
                    <a:pt x="3528262" y="3677012"/>
                    <a:pt x="3620186" y="3312946"/>
                  </a:cubicBezTo>
                  <a:close/>
                  <a:moveTo>
                    <a:pt x="365356" y="2979119"/>
                  </a:moveTo>
                  <a:cubicBezTo>
                    <a:pt x="473608" y="3331695"/>
                    <a:pt x="541947" y="3450228"/>
                    <a:pt x="706442" y="3683062"/>
                  </a:cubicBezTo>
                  <a:cubicBezTo>
                    <a:pt x="655037" y="3770753"/>
                    <a:pt x="643546" y="3833041"/>
                    <a:pt x="525013" y="3830018"/>
                  </a:cubicBezTo>
                  <a:cubicBezTo>
                    <a:pt x="381683" y="3816715"/>
                    <a:pt x="93213" y="3498609"/>
                    <a:pt x="87771" y="3390962"/>
                  </a:cubicBezTo>
                  <a:cubicBezTo>
                    <a:pt x="87769" y="3304481"/>
                    <a:pt x="267385" y="3091000"/>
                    <a:pt x="365356" y="2979119"/>
                  </a:cubicBezTo>
                  <a:close/>
                  <a:moveTo>
                    <a:pt x="4139073" y="1036923"/>
                  </a:moveTo>
                  <a:cubicBezTo>
                    <a:pt x="3934664" y="1099819"/>
                    <a:pt x="3797380" y="1118266"/>
                    <a:pt x="3651029" y="1406131"/>
                  </a:cubicBezTo>
                  <a:cubicBezTo>
                    <a:pt x="3734335" y="1321918"/>
                    <a:pt x="3743481" y="1326606"/>
                    <a:pt x="3748999" y="1323583"/>
                  </a:cubicBezTo>
                  <a:cubicBezTo>
                    <a:pt x="3790873" y="1427021"/>
                    <a:pt x="3816418" y="1434302"/>
                    <a:pt x="3907276" y="1465171"/>
                  </a:cubicBezTo>
                  <a:cubicBezTo>
                    <a:pt x="3906901" y="1466512"/>
                    <a:pt x="3860126" y="1512268"/>
                    <a:pt x="3805244" y="1620218"/>
                  </a:cubicBezTo>
                  <a:cubicBezTo>
                    <a:pt x="3978809" y="1428509"/>
                    <a:pt x="4099763" y="1325697"/>
                    <a:pt x="4338644" y="1230145"/>
                  </a:cubicBezTo>
                  <a:cubicBezTo>
                    <a:pt x="4233417" y="1239897"/>
                    <a:pt x="4203027" y="1264420"/>
                    <a:pt x="4198682" y="1265252"/>
                  </a:cubicBezTo>
                  <a:cubicBezTo>
                    <a:pt x="4182588" y="1154672"/>
                    <a:pt x="4150175" y="1125735"/>
                    <a:pt x="4057883" y="1094980"/>
                  </a:cubicBezTo>
                  <a:cubicBezTo>
                    <a:pt x="4080185" y="1062019"/>
                    <a:pt x="4138315" y="1040402"/>
                    <a:pt x="4139073" y="1036923"/>
                  </a:cubicBezTo>
                  <a:close/>
                  <a:moveTo>
                    <a:pt x="3598662" y="703111"/>
                  </a:moveTo>
                  <a:cubicBezTo>
                    <a:pt x="3498934" y="711015"/>
                    <a:pt x="3457807" y="794149"/>
                    <a:pt x="3426057" y="1114030"/>
                  </a:cubicBezTo>
                  <a:cubicBezTo>
                    <a:pt x="3521610" y="891478"/>
                    <a:pt x="3584505" y="765083"/>
                    <a:pt x="3810686" y="729401"/>
                  </a:cubicBezTo>
                  <a:cubicBezTo>
                    <a:pt x="3744163" y="719271"/>
                    <a:pt x="3689885" y="707781"/>
                    <a:pt x="3645133" y="703859"/>
                  </a:cubicBezTo>
                  <a:cubicBezTo>
                    <a:pt x="3628351" y="702389"/>
                    <a:pt x="3612908" y="701982"/>
                    <a:pt x="3598662" y="703111"/>
                  </a:cubicBezTo>
                  <a:close/>
                  <a:moveTo>
                    <a:pt x="5685617" y="254049"/>
                  </a:moveTo>
                  <a:cubicBezTo>
                    <a:pt x="5662652" y="233993"/>
                    <a:pt x="5566898" y="388936"/>
                    <a:pt x="5497832" y="442881"/>
                  </a:cubicBezTo>
                  <a:cubicBezTo>
                    <a:pt x="5428765" y="496826"/>
                    <a:pt x="5271791" y="542948"/>
                    <a:pt x="5271218" y="577718"/>
                  </a:cubicBezTo>
                  <a:cubicBezTo>
                    <a:pt x="5270644" y="612489"/>
                    <a:pt x="5418513" y="621084"/>
                    <a:pt x="5518876" y="537204"/>
                  </a:cubicBezTo>
                  <a:cubicBezTo>
                    <a:pt x="5619239" y="453324"/>
                    <a:pt x="5718107" y="295877"/>
                    <a:pt x="5685617" y="254049"/>
                  </a:cubicBezTo>
                  <a:close/>
                  <a:moveTo>
                    <a:pt x="3607485" y="63"/>
                  </a:moveTo>
                  <a:cubicBezTo>
                    <a:pt x="3892933" y="-4170"/>
                    <a:pt x="4223738" y="203867"/>
                    <a:pt x="4469272" y="528019"/>
                  </a:cubicBezTo>
                  <a:cubicBezTo>
                    <a:pt x="4410761" y="533462"/>
                    <a:pt x="4334901" y="545028"/>
                    <a:pt x="4312109" y="576495"/>
                  </a:cubicBezTo>
                  <a:lnTo>
                    <a:pt x="4311926" y="576976"/>
                  </a:lnTo>
                  <a:lnTo>
                    <a:pt x="4334277" y="578166"/>
                  </a:lnTo>
                  <a:cubicBezTo>
                    <a:pt x="4430264" y="584487"/>
                    <a:pt x="4535946" y="595145"/>
                    <a:pt x="4576315" y="607845"/>
                  </a:cubicBezTo>
                  <a:cubicBezTo>
                    <a:pt x="4651910" y="624778"/>
                    <a:pt x="4821848" y="835841"/>
                    <a:pt x="4808543" y="903574"/>
                  </a:cubicBezTo>
                  <a:cubicBezTo>
                    <a:pt x="4807938" y="965562"/>
                    <a:pt x="4688801" y="931393"/>
                    <a:pt x="4579944" y="956188"/>
                  </a:cubicBezTo>
                  <a:cubicBezTo>
                    <a:pt x="4566337" y="959287"/>
                    <a:pt x="4550335" y="964116"/>
                    <a:pt x="4532643" y="970068"/>
                  </a:cubicBezTo>
                  <a:lnTo>
                    <a:pt x="4501091" y="981396"/>
                  </a:lnTo>
                  <a:lnTo>
                    <a:pt x="4539462" y="981135"/>
                  </a:lnTo>
                  <a:cubicBezTo>
                    <a:pt x="4594798" y="976939"/>
                    <a:pt x="4622580" y="970703"/>
                    <a:pt x="4677915" y="1045089"/>
                  </a:cubicBezTo>
                  <a:cubicBezTo>
                    <a:pt x="4718434" y="1164831"/>
                    <a:pt x="4691825" y="1141247"/>
                    <a:pt x="4608972" y="1202932"/>
                  </a:cubicBezTo>
                  <a:cubicBezTo>
                    <a:pt x="4739600" y="1169066"/>
                    <a:pt x="4777701" y="1156970"/>
                    <a:pt x="4848457" y="1204746"/>
                  </a:cubicBezTo>
                  <a:cubicBezTo>
                    <a:pt x="4937357" y="1346260"/>
                    <a:pt x="4873857" y="1357147"/>
                    <a:pt x="4821243" y="1417018"/>
                  </a:cubicBezTo>
                  <a:cubicBezTo>
                    <a:pt x="4902885" y="1348075"/>
                    <a:pt x="4970015" y="1282761"/>
                    <a:pt x="5077057" y="1368032"/>
                  </a:cubicBezTo>
                  <a:cubicBezTo>
                    <a:pt x="5168225" y="1439243"/>
                    <a:pt x="5087943" y="1608425"/>
                    <a:pt x="5011488" y="1756176"/>
                  </a:cubicBezTo>
                  <a:lnTo>
                    <a:pt x="5005149" y="1768400"/>
                  </a:lnTo>
                  <a:lnTo>
                    <a:pt x="5035260" y="1744642"/>
                  </a:lnTo>
                  <a:cubicBezTo>
                    <a:pt x="5438762" y="1362546"/>
                    <a:pt x="5121509" y="633925"/>
                    <a:pt x="5207688" y="508059"/>
                  </a:cubicBezTo>
                  <a:cubicBezTo>
                    <a:pt x="5251230" y="440931"/>
                    <a:pt x="5321988" y="453632"/>
                    <a:pt x="5483459" y="368360"/>
                  </a:cubicBezTo>
                  <a:cubicBezTo>
                    <a:pt x="5536074" y="337517"/>
                    <a:pt x="5592014" y="130991"/>
                    <a:pt x="5672145" y="150645"/>
                  </a:cubicBezTo>
                  <a:cubicBezTo>
                    <a:pt x="6022604" y="236603"/>
                    <a:pt x="6267836" y="2016941"/>
                    <a:pt x="5430845" y="2532803"/>
                  </a:cubicBezTo>
                  <a:cubicBezTo>
                    <a:pt x="5125252" y="2699491"/>
                    <a:pt x="4586848" y="2791232"/>
                    <a:pt x="3971108" y="2163716"/>
                  </a:cubicBezTo>
                  <a:lnTo>
                    <a:pt x="3935466" y="2124873"/>
                  </a:lnTo>
                  <a:lnTo>
                    <a:pt x="3916664" y="2222014"/>
                  </a:lnTo>
                  <a:cubicBezTo>
                    <a:pt x="3847574" y="2718004"/>
                    <a:pt x="4173544" y="3189576"/>
                    <a:pt x="4481972" y="2672504"/>
                  </a:cubicBezTo>
                  <a:lnTo>
                    <a:pt x="4549100" y="2677947"/>
                  </a:lnTo>
                  <a:cubicBezTo>
                    <a:pt x="4476529" y="2891427"/>
                    <a:pt x="4329572" y="3086766"/>
                    <a:pt x="4122743" y="3051690"/>
                  </a:cubicBezTo>
                  <a:cubicBezTo>
                    <a:pt x="3880234" y="3020847"/>
                    <a:pt x="3777424" y="2859375"/>
                    <a:pt x="3689129" y="2757776"/>
                  </a:cubicBezTo>
                  <a:cubicBezTo>
                    <a:pt x="3569387" y="2729201"/>
                    <a:pt x="3433315" y="2631230"/>
                    <a:pt x="3299285" y="2541933"/>
                  </a:cubicBezTo>
                  <a:lnTo>
                    <a:pt x="3246026" y="2508407"/>
                  </a:lnTo>
                  <a:lnTo>
                    <a:pt x="3249973" y="2518743"/>
                  </a:lnTo>
                  <a:cubicBezTo>
                    <a:pt x="3337818" y="2713257"/>
                    <a:pt x="3488792" y="2837897"/>
                    <a:pt x="3592971" y="2890218"/>
                  </a:cubicBezTo>
                  <a:cubicBezTo>
                    <a:pt x="3490766" y="3257308"/>
                    <a:pt x="3264539" y="3686442"/>
                    <a:pt x="3204714" y="3741118"/>
                  </a:cubicBezTo>
                  <a:cubicBezTo>
                    <a:pt x="2818271" y="4094300"/>
                    <a:pt x="2606000" y="4318665"/>
                    <a:pt x="2491699" y="4305361"/>
                  </a:cubicBezTo>
                  <a:cubicBezTo>
                    <a:pt x="2334462" y="4291451"/>
                    <a:pt x="2088323" y="3903799"/>
                    <a:pt x="2107071" y="3839089"/>
                  </a:cubicBezTo>
                  <a:cubicBezTo>
                    <a:pt x="2169966" y="3684271"/>
                    <a:pt x="2401590" y="3665523"/>
                    <a:pt x="2453599" y="3581461"/>
                  </a:cubicBezTo>
                  <a:cubicBezTo>
                    <a:pt x="2471742" y="3448414"/>
                    <a:pt x="2437270" y="3407894"/>
                    <a:pt x="2435456" y="3302061"/>
                  </a:cubicBezTo>
                  <a:cubicBezTo>
                    <a:pt x="2286761" y="3631733"/>
                    <a:pt x="1843583" y="3559964"/>
                    <a:pt x="1634637" y="3346858"/>
                  </a:cubicBezTo>
                  <a:lnTo>
                    <a:pt x="1602322" y="3309232"/>
                  </a:lnTo>
                  <a:lnTo>
                    <a:pt x="1606556" y="3424752"/>
                  </a:lnTo>
                  <a:cubicBezTo>
                    <a:pt x="1610109" y="3534138"/>
                    <a:pt x="1611167" y="3639216"/>
                    <a:pt x="1600886" y="3732046"/>
                  </a:cubicBezTo>
                  <a:cubicBezTo>
                    <a:pt x="1585163" y="3848765"/>
                    <a:pt x="1478724" y="3938270"/>
                    <a:pt x="1466629" y="4020518"/>
                  </a:cubicBezTo>
                  <a:cubicBezTo>
                    <a:pt x="1458767" y="4094299"/>
                    <a:pt x="1470863" y="4197109"/>
                    <a:pt x="1443043" y="4241861"/>
                  </a:cubicBezTo>
                  <a:cubicBezTo>
                    <a:pt x="1347491" y="4371280"/>
                    <a:pt x="754824" y="4208599"/>
                    <a:pt x="748172" y="4107603"/>
                  </a:cubicBezTo>
                  <a:cubicBezTo>
                    <a:pt x="737891" y="3945527"/>
                    <a:pt x="792924" y="3953994"/>
                    <a:pt x="815300" y="3877189"/>
                  </a:cubicBezTo>
                  <a:cubicBezTo>
                    <a:pt x="823011" y="3779671"/>
                    <a:pt x="837866" y="3707668"/>
                    <a:pt x="843790" y="3603771"/>
                  </a:cubicBezTo>
                  <a:lnTo>
                    <a:pt x="844480" y="3586118"/>
                  </a:lnTo>
                  <a:lnTo>
                    <a:pt x="824913" y="3548501"/>
                  </a:lnTo>
                  <a:cubicBezTo>
                    <a:pt x="628087" y="3208189"/>
                    <a:pt x="316142" y="2844784"/>
                    <a:pt x="454256" y="2111888"/>
                  </a:cubicBezTo>
                  <a:cubicBezTo>
                    <a:pt x="133129" y="2189449"/>
                    <a:pt x="77340" y="2000650"/>
                    <a:pt x="56504" y="1830221"/>
                  </a:cubicBezTo>
                  <a:lnTo>
                    <a:pt x="54019" y="1806341"/>
                  </a:lnTo>
                  <a:lnTo>
                    <a:pt x="37275" y="1798303"/>
                  </a:lnTo>
                  <a:cubicBezTo>
                    <a:pt x="-57562" y="1715448"/>
                    <a:pt x="34778" y="1477191"/>
                    <a:pt x="243799" y="1386174"/>
                  </a:cubicBezTo>
                  <a:cubicBezTo>
                    <a:pt x="140083" y="1575616"/>
                    <a:pt x="293344" y="1701161"/>
                    <a:pt x="163929" y="1788332"/>
                  </a:cubicBezTo>
                  <a:lnTo>
                    <a:pt x="142519" y="1800347"/>
                  </a:lnTo>
                  <a:lnTo>
                    <a:pt x="215750" y="1866280"/>
                  </a:lnTo>
                  <a:cubicBezTo>
                    <a:pt x="566884" y="2113467"/>
                    <a:pt x="563114" y="1091049"/>
                    <a:pt x="1833113" y="909016"/>
                  </a:cubicBezTo>
                  <a:cubicBezTo>
                    <a:pt x="1355351" y="1394035"/>
                    <a:pt x="1316647" y="1570626"/>
                    <a:pt x="1221699" y="1841560"/>
                  </a:cubicBezTo>
                  <a:cubicBezTo>
                    <a:pt x="1280360" y="2103421"/>
                    <a:pt x="1487795" y="2176598"/>
                    <a:pt x="1566414" y="2387660"/>
                  </a:cubicBezTo>
                  <a:cubicBezTo>
                    <a:pt x="1521435" y="2448439"/>
                    <a:pt x="1480765" y="2507630"/>
                    <a:pt x="1443596" y="2565531"/>
                  </a:cubicBezTo>
                  <a:lnTo>
                    <a:pt x="1408805" y="2623667"/>
                  </a:lnTo>
                  <a:lnTo>
                    <a:pt x="1418054" y="2635650"/>
                  </a:lnTo>
                  <a:cubicBezTo>
                    <a:pt x="1537943" y="2781370"/>
                    <a:pt x="1741869" y="2968762"/>
                    <a:pt x="1869399" y="2993632"/>
                  </a:cubicBezTo>
                  <a:cubicBezTo>
                    <a:pt x="2297118" y="2948274"/>
                    <a:pt x="2395202" y="2713098"/>
                    <a:pt x="2661931" y="2671568"/>
                  </a:cubicBezTo>
                  <a:lnTo>
                    <a:pt x="2673961" y="2670522"/>
                  </a:lnTo>
                  <a:lnTo>
                    <a:pt x="2693882" y="2665877"/>
                  </a:lnTo>
                  <a:cubicBezTo>
                    <a:pt x="2744901" y="2657855"/>
                    <a:pt x="2788873" y="2662271"/>
                    <a:pt x="2830675" y="2670514"/>
                  </a:cubicBezTo>
                  <a:lnTo>
                    <a:pt x="2846154" y="2674100"/>
                  </a:lnTo>
                  <a:lnTo>
                    <a:pt x="2901383" y="2682721"/>
                  </a:lnTo>
                  <a:lnTo>
                    <a:pt x="2955302" y="2696508"/>
                  </a:lnTo>
                  <a:lnTo>
                    <a:pt x="2997886" y="2703485"/>
                  </a:lnTo>
                  <a:cubicBezTo>
                    <a:pt x="3265144" y="1718049"/>
                    <a:pt x="2888331" y="1717770"/>
                    <a:pt x="2983232" y="1129662"/>
                  </a:cubicBezTo>
                  <a:cubicBezTo>
                    <a:pt x="2716253" y="1857748"/>
                    <a:pt x="3104232" y="1854679"/>
                    <a:pt x="2857209" y="2524708"/>
                  </a:cubicBezTo>
                  <a:cubicBezTo>
                    <a:pt x="2739978" y="2536431"/>
                    <a:pt x="2686248" y="2484654"/>
                    <a:pt x="2505517" y="2559877"/>
                  </a:cubicBezTo>
                  <a:cubicBezTo>
                    <a:pt x="2322646" y="2650405"/>
                    <a:pt x="2147033" y="2806248"/>
                    <a:pt x="1956905" y="2831462"/>
                  </a:cubicBezTo>
                  <a:cubicBezTo>
                    <a:pt x="1778872" y="2833603"/>
                    <a:pt x="1720583" y="2766799"/>
                    <a:pt x="1635078" y="2641939"/>
                  </a:cubicBezTo>
                  <a:lnTo>
                    <a:pt x="1977978" y="1932693"/>
                  </a:lnTo>
                  <a:lnTo>
                    <a:pt x="1684901" y="2266800"/>
                  </a:lnTo>
                  <a:cubicBezTo>
                    <a:pt x="1501240" y="1883847"/>
                    <a:pt x="1485607" y="2037501"/>
                    <a:pt x="1402431" y="1820068"/>
                  </a:cubicBezTo>
                  <a:cubicBezTo>
                    <a:pt x="1434809" y="1410458"/>
                    <a:pt x="2220116" y="686976"/>
                    <a:pt x="2341394" y="602123"/>
                  </a:cubicBezTo>
                  <a:cubicBezTo>
                    <a:pt x="2399399" y="551690"/>
                    <a:pt x="2579641" y="560985"/>
                    <a:pt x="2838365" y="498745"/>
                  </a:cubicBezTo>
                  <a:lnTo>
                    <a:pt x="2887056" y="485499"/>
                  </a:lnTo>
                  <a:lnTo>
                    <a:pt x="2875393" y="483824"/>
                  </a:lnTo>
                  <a:cubicBezTo>
                    <a:pt x="2805647" y="476425"/>
                    <a:pt x="2712740" y="475858"/>
                    <a:pt x="2587857" y="477219"/>
                  </a:cubicBezTo>
                  <a:cubicBezTo>
                    <a:pt x="2832181" y="98638"/>
                    <a:pt x="3263375" y="10344"/>
                    <a:pt x="3607485" y="63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25">
                <a:defRPr/>
              </a:pPr>
              <a:endParaRPr lang="en-US" kern="0" dirty="0">
                <a:solidFill>
                  <a:srgbClr val="A80000"/>
                </a:solidFill>
              </a:endParaRPr>
            </a:p>
          </p:txBody>
        </p:sp>
        <p:grpSp>
          <p:nvGrpSpPr>
            <p:cNvPr id="38" name="Group 37"/>
            <p:cNvGrpSpPr/>
            <p:nvPr/>
          </p:nvGrpSpPr>
          <p:grpSpPr>
            <a:xfrm>
              <a:off x="11172351" y="2391655"/>
              <a:ext cx="596674" cy="510560"/>
              <a:chOff x="10592128" y="1976707"/>
              <a:chExt cx="748773" cy="640708"/>
            </a:xfrm>
            <a:solidFill>
              <a:srgbClr val="0078D7"/>
            </a:solidFill>
          </p:grpSpPr>
          <p:sp>
            <p:nvSpPr>
              <p:cNvPr id="42" name="Freeform 141"/>
              <p:cNvSpPr/>
              <p:nvPr/>
            </p:nvSpPr>
            <p:spPr bwMode="auto">
              <a:xfrm>
                <a:off x="10592128" y="1976707"/>
                <a:ext cx="748773" cy="500381"/>
              </a:xfrm>
              <a:custGeom>
                <a:avLst/>
                <a:gdLst>
                  <a:gd name="connsiteX0" fmla="*/ 349958 w 699028"/>
                  <a:gd name="connsiteY0" fmla="*/ 332088 h 467139"/>
                  <a:gd name="connsiteX1" fmla="*/ 397703 w 699028"/>
                  <a:gd name="connsiteY1" fmla="*/ 351860 h 467139"/>
                  <a:gd name="connsiteX2" fmla="*/ 397691 w 699028"/>
                  <a:gd name="connsiteY2" fmla="*/ 447356 h 467139"/>
                  <a:gd name="connsiteX3" fmla="*/ 302195 w 699028"/>
                  <a:gd name="connsiteY3" fmla="*/ 447368 h 467139"/>
                  <a:gd name="connsiteX4" fmla="*/ 302207 w 699028"/>
                  <a:gd name="connsiteY4" fmla="*/ 351872 h 467139"/>
                  <a:gd name="connsiteX5" fmla="*/ 349958 w 699028"/>
                  <a:gd name="connsiteY5" fmla="*/ 332088 h 467139"/>
                  <a:gd name="connsiteX6" fmla="*/ 353921 w 699028"/>
                  <a:gd name="connsiteY6" fmla="*/ 168055 h 467139"/>
                  <a:gd name="connsiteX7" fmla="*/ 583268 w 699028"/>
                  <a:gd name="connsiteY7" fmla="*/ 265877 h 467139"/>
                  <a:gd name="connsiteX8" fmla="*/ 511834 w 699028"/>
                  <a:gd name="connsiteY8" fmla="*/ 333511 h 467139"/>
                  <a:gd name="connsiteX9" fmla="*/ 186276 w 699028"/>
                  <a:gd name="connsiteY9" fmla="*/ 331927 h 467139"/>
                  <a:gd name="connsiteX10" fmla="*/ 119849 w 699028"/>
                  <a:gd name="connsiteY10" fmla="*/ 264970 h 467139"/>
                  <a:gd name="connsiteX11" fmla="*/ 353921 w 699028"/>
                  <a:gd name="connsiteY11" fmla="*/ 168055 h 467139"/>
                  <a:gd name="connsiteX12" fmla="*/ 361931 w 699028"/>
                  <a:gd name="connsiteY12" fmla="*/ 87 h 467139"/>
                  <a:gd name="connsiteX13" fmla="*/ 699028 w 699028"/>
                  <a:gd name="connsiteY13" fmla="*/ 150116 h 467139"/>
                  <a:gd name="connsiteX14" fmla="*/ 628991 w 699028"/>
                  <a:gd name="connsiteY14" fmla="*/ 214391 h 467139"/>
                  <a:gd name="connsiteX15" fmla="*/ 68424 w 699028"/>
                  <a:gd name="connsiteY15" fmla="*/ 214121 h 467139"/>
                  <a:gd name="connsiteX16" fmla="*/ 0 w 699028"/>
                  <a:gd name="connsiteY16" fmla="*/ 144856 h 467139"/>
                  <a:gd name="connsiteX17" fmla="*/ 361931 w 699028"/>
                  <a:gd name="connsiteY17" fmla="*/ 87 h 467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99028" h="467139">
                    <a:moveTo>
                      <a:pt x="349958" y="332088"/>
                    </a:moveTo>
                    <a:cubicBezTo>
                      <a:pt x="367239" y="332086"/>
                      <a:pt x="384520" y="338676"/>
                      <a:pt x="397703" y="351860"/>
                    </a:cubicBezTo>
                    <a:cubicBezTo>
                      <a:pt x="424070" y="378227"/>
                      <a:pt x="424065" y="420982"/>
                      <a:pt x="397691" y="447356"/>
                    </a:cubicBezTo>
                    <a:cubicBezTo>
                      <a:pt x="371317" y="473730"/>
                      <a:pt x="328562" y="473735"/>
                      <a:pt x="302195" y="447368"/>
                    </a:cubicBezTo>
                    <a:cubicBezTo>
                      <a:pt x="275828" y="421001"/>
                      <a:pt x="275833" y="378247"/>
                      <a:pt x="302207" y="351872"/>
                    </a:cubicBezTo>
                    <a:cubicBezTo>
                      <a:pt x="315394" y="338685"/>
                      <a:pt x="332677" y="332090"/>
                      <a:pt x="349958" y="332088"/>
                    </a:cubicBezTo>
                    <a:close/>
                    <a:moveTo>
                      <a:pt x="353921" y="168055"/>
                    </a:moveTo>
                    <a:cubicBezTo>
                      <a:pt x="421630" y="169074"/>
                      <a:pt x="499502" y="194426"/>
                      <a:pt x="583268" y="265877"/>
                    </a:cubicBezTo>
                    <a:lnTo>
                      <a:pt x="511834" y="333511"/>
                    </a:lnTo>
                    <a:cubicBezTo>
                      <a:pt x="447647" y="285944"/>
                      <a:pt x="333101" y="208741"/>
                      <a:pt x="186276" y="331927"/>
                    </a:cubicBezTo>
                    <a:cubicBezTo>
                      <a:pt x="164751" y="310049"/>
                      <a:pt x="141374" y="286848"/>
                      <a:pt x="119849" y="264970"/>
                    </a:cubicBezTo>
                    <a:cubicBezTo>
                      <a:pt x="156460" y="232250"/>
                      <a:pt x="241074" y="166356"/>
                      <a:pt x="353921" y="168055"/>
                    </a:cubicBezTo>
                    <a:close/>
                    <a:moveTo>
                      <a:pt x="361931" y="87"/>
                    </a:moveTo>
                    <a:cubicBezTo>
                      <a:pt x="464715" y="2156"/>
                      <a:pt x="580327" y="41168"/>
                      <a:pt x="699028" y="150116"/>
                    </a:cubicBezTo>
                    <a:lnTo>
                      <a:pt x="628991" y="214391"/>
                    </a:lnTo>
                    <a:cubicBezTo>
                      <a:pt x="548349" y="144544"/>
                      <a:pt x="302316" y="-8040"/>
                      <a:pt x="68424" y="214121"/>
                    </a:cubicBezTo>
                    <a:cubicBezTo>
                      <a:pt x="35772" y="180939"/>
                      <a:pt x="32652" y="178037"/>
                      <a:pt x="0" y="144856"/>
                    </a:cubicBezTo>
                    <a:cubicBezTo>
                      <a:pt x="54949" y="95809"/>
                      <a:pt x="190623" y="-3362"/>
                      <a:pt x="361931" y="87"/>
                    </a:cubicBez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dirty="0">
                  <a:solidFill>
                    <a:srgbClr val="A80000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43" name="Group 42"/>
              <p:cNvGrpSpPr/>
              <p:nvPr/>
            </p:nvGrpSpPr>
            <p:grpSpPr>
              <a:xfrm>
                <a:off x="10817850" y="2320884"/>
                <a:ext cx="295846" cy="296531"/>
                <a:chOff x="10817850" y="2320884"/>
                <a:chExt cx="295846" cy="296531"/>
              </a:xfrm>
              <a:grpFill/>
            </p:grpSpPr>
            <p:sp>
              <p:nvSpPr>
                <p:cNvPr id="44" name="Freeform 143"/>
                <p:cNvSpPr/>
                <p:nvPr/>
              </p:nvSpPr>
              <p:spPr bwMode="auto">
                <a:xfrm rot="18830973">
                  <a:off x="10817507" y="2321227"/>
                  <a:ext cx="296531" cy="295846"/>
                </a:xfrm>
                <a:custGeom>
                  <a:avLst/>
                  <a:gdLst>
                    <a:gd name="connsiteX0" fmla="*/ 101778 w 3588494"/>
                    <a:gd name="connsiteY0" fmla="*/ 3478420 h 3580199"/>
                    <a:gd name="connsiteX1" fmla="*/ 101779 w 3588494"/>
                    <a:gd name="connsiteY1" fmla="*/ 3478420 h 3580199"/>
                    <a:gd name="connsiteX2" fmla="*/ 101779 w 3588494"/>
                    <a:gd name="connsiteY2" fmla="*/ 3478421 h 3580199"/>
                    <a:gd name="connsiteX3" fmla="*/ 2256223 w 3588494"/>
                    <a:gd name="connsiteY3" fmla="*/ 434826 h 3580199"/>
                    <a:gd name="connsiteX4" fmla="*/ 1621634 w 3588494"/>
                    <a:gd name="connsiteY4" fmla="*/ 697681 h 3580199"/>
                    <a:gd name="connsiteX5" fmla="*/ 1621634 w 3588494"/>
                    <a:gd name="connsiteY5" fmla="*/ 1966860 h 3580199"/>
                    <a:gd name="connsiteX6" fmla="*/ 2890812 w 3588494"/>
                    <a:gd name="connsiteY6" fmla="*/ 1966860 h 3580199"/>
                    <a:gd name="connsiteX7" fmla="*/ 2890812 w 3588494"/>
                    <a:gd name="connsiteY7" fmla="*/ 697681 h 3580199"/>
                    <a:gd name="connsiteX8" fmla="*/ 2256223 w 3588494"/>
                    <a:gd name="connsiteY8" fmla="*/ 434826 h 3580199"/>
                    <a:gd name="connsiteX9" fmla="*/ 2256223 w 3588494"/>
                    <a:gd name="connsiteY9" fmla="*/ 0 h 3580199"/>
                    <a:gd name="connsiteX10" fmla="*/ 3198281 w 3588494"/>
                    <a:gd name="connsiteY10" fmla="*/ 390213 h 3580199"/>
                    <a:gd name="connsiteX11" fmla="*/ 3198281 w 3588494"/>
                    <a:gd name="connsiteY11" fmla="*/ 2274329 h 3580199"/>
                    <a:gd name="connsiteX12" fmla="*/ 1636657 w 3588494"/>
                    <a:gd name="connsiteY12" fmla="*/ 2512115 h 3580199"/>
                    <a:gd name="connsiteX13" fmla="*/ 1584759 w 3588494"/>
                    <a:gd name="connsiteY13" fmla="*/ 2481447 h 3580199"/>
                    <a:gd name="connsiteX14" fmla="*/ 593216 w 3588494"/>
                    <a:gd name="connsiteY14" fmla="*/ 3478420 h 3580199"/>
                    <a:gd name="connsiteX15" fmla="*/ 156291 w 3588494"/>
                    <a:gd name="connsiteY15" fmla="*/ 3522949 h 3580199"/>
                    <a:gd name="connsiteX16" fmla="*/ 101779 w 3588494"/>
                    <a:gd name="connsiteY16" fmla="*/ 3478420 h 3580199"/>
                    <a:gd name="connsiteX17" fmla="*/ 57250 w 3588494"/>
                    <a:gd name="connsiteY17" fmla="*/ 3423908 h 3580199"/>
                    <a:gd name="connsiteX18" fmla="*/ 101778 w 3588494"/>
                    <a:gd name="connsiteY18" fmla="*/ 2986983 h 3580199"/>
                    <a:gd name="connsiteX19" fmla="*/ 1101040 w 3588494"/>
                    <a:gd name="connsiteY19" fmla="*/ 1993571 h 3580199"/>
                    <a:gd name="connsiteX20" fmla="*/ 1076378 w 3588494"/>
                    <a:gd name="connsiteY20" fmla="*/ 1951836 h 3580199"/>
                    <a:gd name="connsiteX21" fmla="*/ 1314165 w 3588494"/>
                    <a:gd name="connsiteY21" fmla="*/ 390212 h 3580199"/>
                    <a:gd name="connsiteX22" fmla="*/ 2256223 w 3588494"/>
                    <a:gd name="connsiteY22" fmla="*/ 0 h 3580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3588494" h="3580199">
                      <a:moveTo>
                        <a:pt x="101778" y="3478420"/>
                      </a:moveTo>
                      <a:lnTo>
                        <a:pt x="101779" y="3478420"/>
                      </a:lnTo>
                      <a:lnTo>
                        <a:pt x="101779" y="3478421"/>
                      </a:lnTo>
                      <a:close/>
                      <a:moveTo>
                        <a:pt x="2256223" y="434826"/>
                      </a:moveTo>
                      <a:cubicBezTo>
                        <a:pt x="2026547" y="434826"/>
                        <a:pt x="1796871" y="522444"/>
                        <a:pt x="1621634" y="697681"/>
                      </a:cubicBezTo>
                      <a:cubicBezTo>
                        <a:pt x="1271160" y="1048155"/>
                        <a:pt x="1271160" y="1616386"/>
                        <a:pt x="1621634" y="1966860"/>
                      </a:cubicBezTo>
                      <a:cubicBezTo>
                        <a:pt x="1972108" y="2317334"/>
                        <a:pt x="2540339" y="2317334"/>
                        <a:pt x="2890812" y="1966860"/>
                      </a:cubicBezTo>
                      <a:cubicBezTo>
                        <a:pt x="3241286" y="1616386"/>
                        <a:pt x="3241286" y="1048155"/>
                        <a:pt x="2890812" y="697681"/>
                      </a:cubicBezTo>
                      <a:cubicBezTo>
                        <a:pt x="2715576" y="522445"/>
                        <a:pt x="2485899" y="434826"/>
                        <a:pt x="2256223" y="434826"/>
                      </a:cubicBezTo>
                      <a:close/>
                      <a:moveTo>
                        <a:pt x="2256223" y="0"/>
                      </a:moveTo>
                      <a:cubicBezTo>
                        <a:pt x="2597181" y="-1"/>
                        <a:pt x="2938139" y="130071"/>
                        <a:pt x="3198281" y="390213"/>
                      </a:cubicBezTo>
                      <a:cubicBezTo>
                        <a:pt x="3718565" y="910497"/>
                        <a:pt x="3718565" y="1754044"/>
                        <a:pt x="3198281" y="2274329"/>
                      </a:cubicBezTo>
                      <a:cubicBezTo>
                        <a:pt x="2775550" y="2697060"/>
                        <a:pt x="2139415" y="2776322"/>
                        <a:pt x="1636657" y="2512115"/>
                      </a:cubicBezTo>
                      <a:lnTo>
                        <a:pt x="1584759" y="2481447"/>
                      </a:lnTo>
                      <a:cubicBezTo>
                        <a:pt x="1254245" y="2813772"/>
                        <a:pt x="923730" y="3146096"/>
                        <a:pt x="593216" y="3478420"/>
                      </a:cubicBezTo>
                      <a:cubicBezTo>
                        <a:pt x="474472" y="3597163"/>
                        <a:pt x="291173" y="3612006"/>
                        <a:pt x="156291" y="3522949"/>
                      </a:cubicBezTo>
                      <a:lnTo>
                        <a:pt x="101779" y="3478420"/>
                      </a:lnTo>
                      <a:lnTo>
                        <a:pt x="57250" y="3423908"/>
                      </a:lnTo>
                      <a:cubicBezTo>
                        <a:pt x="-31807" y="3289025"/>
                        <a:pt x="-16964" y="3105726"/>
                        <a:pt x="101778" y="2986983"/>
                      </a:cubicBezTo>
                      <a:cubicBezTo>
                        <a:pt x="336750" y="2753504"/>
                        <a:pt x="938607" y="2166095"/>
                        <a:pt x="1101040" y="1993571"/>
                      </a:cubicBezTo>
                      <a:lnTo>
                        <a:pt x="1076378" y="1951836"/>
                      </a:lnTo>
                      <a:cubicBezTo>
                        <a:pt x="812172" y="1449079"/>
                        <a:pt x="891433" y="812943"/>
                        <a:pt x="1314165" y="390212"/>
                      </a:cubicBezTo>
                      <a:cubicBezTo>
                        <a:pt x="1574307" y="130071"/>
                        <a:pt x="1915265" y="-1"/>
                        <a:pt x="2256223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293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kern="0" dirty="0">
                    <a:solidFill>
                      <a:srgbClr val="A80000"/>
                    </a:soli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5" name="Oval 44"/>
                <p:cNvSpPr/>
                <p:nvPr/>
              </p:nvSpPr>
              <p:spPr bwMode="auto">
                <a:xfrm>
                  <a:off x="10892671" y="2341231"/>
                  <a:ext cx="148336" cy="148336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342834" indent="-342834" algn="ctr" defTabSz="932293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Wingdings 3" panose="05040102010807070707" pitchFamily="18" charset="2"/>
                    <a:buChar char="Æ"/>
                    <a:defRPr/>
                  </a:pPr>
                  <a:endParaRPr lang="en-US" sz="2000" b="1" kern="0" dirty="0">
                    <a:solidFill>
                      <a:srgbClr val="A80000"/>
                    </a:solidFill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grpSp>
          <p:nvGrpSpPr>
            <p:cNvPr id="39" name="Group 38"/>
            <p:cNvGrpSpPr/>
            <p:nvPr/>
          </p:nvGrpSpPr>
          <p:grpSpPr>
            <a:xfrm>
              <a:off x="10491581" y="2365265"/>
              <a:ext cx="475930" cy="577280"/>
              <a:chOff x="10473171" y="2542892"/>
              <a:chExt cx="316776" cy="384234"/>
            </a:xfrm>
          </p:grpSpPr>
          <p:sp>
            <p:nvSpPr>
              <p:cNvPr id="40" name="Freeform 149"/>
              <p:cNvSpPr>
                <a:spLocks noChangeAspect="1"/>
              </p:cNvSpPr>
              <p:nvPr/>
            </p:nvSpPr>
            <p:spPr bwMode="auto">
              <a:xfrm>
                <a:off x="10473171" y="2542892"/>
                <a:ext cx="316776" cy="384234"/>
              </a:xfrm>
              <a:custGeom>
                <a:avLst/>
                <a:gdLst>
                  <a:gd name="connsiteX0" fmla="*/ 798094 w 3353970"/>
                  <a:gd name="connsiteY0" fmla="*/ 2861714 h 4068206"/>
                  <a:gd name="connsiteX1" fmla="*/ 2555877 w 3353970"/>
                  <a:gd name="connsiteY1" fmla="*/ 2861714 h 4068206"/>
                  <a:gd name="connsiteX2" fmla="*/ 2699133 w 3353970"/>
                  <a:gd name="connsiteY2" fmla="*/ 3004970 h 4068206"/>
                  <a:gd name="connsiteX3" fmla="*/ 2555877 w 3353970"/>
                  <a:gd name="connsiteY3" fmla="*/ 3148226 h 4068206"/>
                  <a:gd name="connsiteX4" fmla="*/ 798094 w 3353970"/>
                  <a:gd name="connsiteY4" fmla="*/ 3148226 h 4068206"/>
                  <a:gd name="connsiteX5" fmla="*/ 654838 w 3353970"/>
                  <a:gd name="connsiteY5" fmla="*/ 3004970 h 4068206"/>
                  <a:gd name="connsiteX6" fmla="*/ 798094 w 3353970"/>
                  <a:gd name="connsiteY6" fmla="*/ 2861714 h 4068206"/>
                  <a:gd name="connsiteX7" fmla="*/ 798094 w 3353970"/>
                  <a:gd name="connsiteY7" fmla="*/ 2277716 h 4068206"/>
                  <a:gd name="connsiteX8" fmla="*/ 2555877 w 3353970"/>
                  <a:gd name="connsiteY8" fmla="*/ 2277716 h 4068206"/>
                  <a:gd name="connsiteX9" fmla="*/ 2699133 w 3353970"/>
                  <a:gd name="connsiteY9" fmla="*/ 2420972 h 4068206"/>
                  <a:gd name="connsiteX10" fmla="*/ 2555877 w 3353970"/>
                  <a:gd name="connsiteY10" fmla="*/ 2564228 h 4068206"/>
                  <a:gd name="connsiteX11" fmla="*/ 798094 w 3353970"/>
                  <a:gd name="connsiteY11" fmla="*/ 2564228 h 4068206"/>
                  <a:gd name="connsiteX12" fmla="*/ 654838 w 3353970"/>
                  <a:gd name="connsiteY12" fmla="*/ 2420972 h 4068206"/>
                  <a:gd name="connsiteX13" fmla="*/ 798094 w 3353970"/>
                  <a:gd name="connsiteY13" fmla="*/ 2277716 h 4068206"/>
                  <a:gd name="connsiteX14" fmla="*/ 798094 w 3353970"/>
                  <a:gd name="connsiteY14" fmla="*/ 1693718 h 4068206"/>
                  <a:gd name="connsiteX15" fmla="*/ 2555877 w 3353970"/>
                  <a:gd name="connsiteY15" fmla="*/ 1693718 h 4068206"/>
                  <a:gd name="connsiteX16" fmla="*/ 2699133 w 3353970"/>
                  <a:gd name="connsiteY16" fmla="*/ 1836974 h 4068206"/>
                  <a:gd name="connsiteX17" fmla="*/ 2555877 w 3353970"/>
                  <a:gd name="connsiteY17" fmla="*/ 1980230 h 4068206"/>
                  <a:gd name="connsiteX18" fmla="*/ 798094 w 3353970"/>
                  <a:gd name="connsiteY18" fmla="*/ 1980230 h 4068206"/>
                  <a:gd name="connsiteX19" fmla="*/ 654838 w 3353970"/>
                  <a:gd name="connsiteY19" fmla="*/ 1836974 h 4068206"/>
                  <a:gd name="connsiteX20" fmla="*/ 798094 w 3353970"/>
                  <a:gd name="connsiteY20" fmla="*/ 1693718 h 4068206"/>
                  <a:gd name="connsiteX21" fmla="*/ 1530134 w 3353970"/>
                  <a:gd name="connsiteY21" fmla="*/ 1144192 h 4068206"/>
                  <a:gd name="connsiteX22" fmla="*/ 2555877 w 3353970"/>
                  <a:gd name="connsiteY22" fmla="*/ 1144192 h 4068206"/>
                  <a:gd name="connsiteX23" fmla="*/ 2699133 w 3353970"/>
                  <a:gd name="connsiteY23" fmla="*/ 1287448 h 4068206"/>
                  <a:gd name="connsiteX24" fmla="*/ 2555877 w 3353970"/>
                  <a:gd name="connsiteY24" fmla="*/ 1430704 h 4068206"/>
                  <a:gd name="connsiteX25" fmla="*/ 1530134 w 3353970"/>
                  <a:gd name="connsiteY25" fmla="*/ 1430704 h 4068206"/>
                  <a:gd name="connsiteX26" fmla="*/ 1386878 w 3353970"/>
                  <a:gd name="connsiteY26" fmla="*/ 1287448 h 4068206"/>
                  <a:gd name="connsiteX27" fmla="*/ 1530134 w 3353970"/>
                  <a:gd name="connsiteY27" fmla="*/ 1144192 h 4068206"/>
                  <a:gd name="connsiteX28" fmla="*/ 2943154 w 3353970"/>
                  <a:gd name="connsiteY28" fmla="*/ 244615 h 4068206"/>
                  <a:gd name="connsiteX29" fmla="*/ 1232526 w 3353970"/>
                  <a:gd name="connsiteY29" fmla="*/ 244616 h 4068206"/>
                  <a:gd name="connsiteX30" fmla="*/ 1232526 w 3353970"/>
                  <a:gd name="connsiteY30" fmla="*/ 856139 h 4068206"/>
                  <a:gd name="connsiteX31" fmla="*/ 915088 w 3353970"/>
                  <a:gd name="connsiteY31" fmla="*/ 1173577 h 4068206"/>
                  <a:gd name="connsiteX32" fmla="*/ 271532 w 3353970"/>
                  <a:gd name="connsiteY32" fmla="*/ 1173577 h 4068206"/>
                  <a:gd name="connsiteX33" fmla="*/ 271532 w 3353970"/>
                  <a:gd name="connsiteY33" fmla="*/ 3630672 h 4068206"/>
                  <a:gd name="connsiteX34" fmla="*/ 442122 w 3353970"/>
                  <a:gd name="connsiteY34" fmla="*/ 3801262 h 4068206"/>
                  <a:gd name="connsiteX35" fmla="*/ 2943154 w 3353970"/>
                  <a:gd name="connsiteY35" fmla="*/ 3801262 h 4068206"/>
                  <a:gd name="connsiteX36" fmla="*/ 3113744 w 3353970"/>
                  <a:gd name="connsiteY36" fmla="*/ 3630672 h 4068206"/>
                  <a:gd name="connsiteX37" fmla="*/ 3113744 w 3353970"/>
                  <a:gd name="connsiteY37" fmla="*/ 415205 h 4068206"/>
                  <a:gd name="connsiteX38" fmla="*/ 2943154 w 3353970"/>
                  <a:gd name="connsiteY38" fmla="*/ 244615 h 4068206"/>
                  <a:gd name="connsiteX39" fmla="*/ 3022095 w 3353970"/>
                  <a:gd name="connsiteY39" fmla="*/ 0 h 4068206"/>
                  <a:gd name="connsiteX40" fmla="*/ 3353970 w 3353970"/>
                  <a:gd name="connsiteY40" fmla="*/ 331875 h 4068206"/>
                  <a:gd name="connsiteX41" fmla="*/ 3353970 w 3353970"/>
                  <a:gd name="connsiteY41" fmla="*/ 3736331 h 4068206"/>
                  <a:gd name="connsiteX42" fmla="*/ 3022095 w 3353970"/>
                  <a:gd name="connsiteY42" fmla="*/ 4068206 h 4068206"/>
                  <a:gd name="connsiteX43" fmla="*/ 331875 w 3353970"/>
                  <a:gd name="connsiteY43" fmla="*/ 4068206 h 4068206"/>
                  <a:gd name="connsiteX44" fmla="*/ 0 w 3353970"/>
                  <a:gd name="connsiteY44" fmla="*/ 3736331 h 4068206"/>
                  <a:gd name="connsiteX45" fmla="*/ 0 w 3353970"/>
                  <a:gd name="connsiteY45" fmla="*/ 1047346 h 4068206"/>
                  <a:gd name="connsiteX46" fmla="*/ 1047345 w 3353970"/>
                  <a:gd name="connsiteY46" fmla="*/ 1 h 4068206"/>
                  <a:gd name="connsiteX0" fmla="*/ 798094 w 3353970"/>
                  <a:gd name="connsiteY0" fmla="*/ 2861714 h 4068206"/>
                  <a:gd name="connsiteX1" fmla="*/ 2555877 w 3353970"/>
                  <a:gd name="connsiteY1" fmla="*/ 2861714 h 4068206"/>
                  <a:gd name="connsiteX2" fmla="*/ 2699133 w 3353970"/>
                  <a:gd name="connsiteY2" fmla="*/ 3004970 h 4068206"/>
                  <a:gd name="connsiteX3" fmla="*/ 2555877 w 3353970"/>
                  <a:gd name="connsiteY3" fmla="*/ 3148226 h 4068206"/>
                  <a:gd name="connsiteX4" fmla="*/ 654838 w 3353970"/>
                  <a:gd name="connsiteY4" fmla="*/ 3004970 h 4068206"/>
                  <a:gd name="connsiteX5" fmla="*/ 798094 w 3353970"/>
                  <a:gd name="connsiteY5" fmla="*/ 2861714 h 4068206"/>
                  <a:gd name="connsiteX6" fmla="*/ 798094 w 3353970"/>
                  <a:gd name="connsiteY6" fmla="*/ 2277716 h 4068206"/>
                  <a:gd name="connsiteX7" fmla="*/ 2555877 w 3353970"/>
                  <a:gd name="connsiteY7" fmla="*/ 2277716 h 4068206"/>
                  <a:gd name="connsiteX8" fmla="*/ 2699133 w 3353970"/>
                  <a:gd name="connsiteY8" fmla="*/ 2420972 h 4068206"/>
                  <a:gd name="connsiteX9" fmla="*/ 2555877 w 3353970"/>
                  <a:gd name="connsiteY9" fmla="*/ 2564228 h 4068206"/>
                  <a:gd name="connsiteX10" fmla="*/ 798094 w 3353970"/>
                  <a:gd name="connsiteY10" fmla="*/ 2564228 h 4068206"/>
                  <a:gd name="connsiteX11" fmla="*/ 654838 w 3353970"/>
                  <a:gd name="connsiteY11" fmla="*/ 2420972 h 4068206"/>
                  <a:gd name="connsiteX12" fmla="*/ 798094 w 3353970"/>
                  <a:gd name="connsiteY12" fmla="*/ 2277716 h 4068206"/>
                  <a:gd name="connsiteX13" fmla="*/ 798094 w 3353970"/>
                  <a:gd name="connsiteY13" fmla="*/ 1693718 h 4068206"/>
                  <a:gd name="connsiteX14" fmla="*/ 2555877 w 3353970"/>
                  <a:gd name="connsiteY14" fmla="*/ 1693718 h 4068206"/>
                  <a:gd name="connsiteX15" fmla="*/ 2699133 w 3353970"/>
                  <a:gd name="connsiteY15" fmla="*/ 1836974 h 4068206"/>
                  <a:gd name="connsiteX16" fmla="*/ 2555877 w 3353970"/>
                  <a:gd name="connsiteY16" fmla="*/ 1980230 h 4068206"/>
                  <a:gd name="connsiteX17" fmla="*/ 798094 w 3353970"/>
                  <a:gd name="connsiteY17" fmla="*/ 1980230 h 4068206"/>
                  <a:gd name="connsiteX18" fmla="*/ 654838 w 3353970"/>
                  <a:gd name="connsiteY18" fmla="*/ 1836974 h 4068206"/>
                  <a:gd name="connsiteX19" fmla="*/ 798094 w 3353970"/>
                  <a:gd name="connsiteY19" fmla="*/ 1693718 h 4068206"/>
                  <a:gd name="connsiteX20" fmla="*/ 1530134 w 3353970"/>
                  <a:gd name="connsiteY20" fmla="*/ 1144192 h 4068206"/>
                  <a:gd name="connsiteX21" fmla="*/ 2555877 w 3353970"/>
                  <a:gd name="connsiteY21" fmla="*/ 1144192 h 4068206"/>
                  <a:gd name="connsiteX22" fmla="*/ 2699133 w 3353970"/>
                  <a:gd name="connsiteY22" fmla="*/ 1287448 h 4068206"/>
                  <a:gd name="connsiteX23" fmla="*/ 2555877 w 3353970"/>
                  <a:gd name="connsiteY23" fmla="*/ 1430704 h 4068206"/>
                  <a:gd name="connsiteX24" fmla="*/ 1530134 w 3353970"/>
                  <a:gd name="connsiteY24" fmla="*/ 1430704 h 4068206"/>
                  <a:gd name="connsiteX25" fmla="*/ 1386878 w 3353970"/>
                  <a:gd name="connsiteY25" fmla="*/ 1287448 h 4068206"/>
                  <a:gd name="connsiteX26" fmla="*/ 1530134 w 3353970"/>
                  <a:gd name="connsiteY26" fmla="*/ 1144192 h 4068206"/>
                  <a:gd name="connsiteX27" fmla="*/ 2943154 w 3353970"/>
                  <a:gd name="connsiteY27" fmla="*/ 244615 h 4068206"/>
                  <a:gd name="connsiteX28" fmla="*/ 1232526 w 3353970"/>
                  <a:gd name="connsiteY28" fmla="*/ 244616 h 4068206"/>
                  <a:gd name="connsiteX29" fmla="*/ 1232526 w 3353970"/>
                  <a:gd name="connsiteY29" fmla="*/ 856139 h 4068206"/>
                  <a:gd name="connsiteX30" fmla="*/ 915088 w 3353970"/>
                  <a:gd name="connsiteY30" fmla="*/ 1173577 h 4068206"/>
                  <a:gd name="connsiteX31" fmla="*/ 271532 w 3353970"/>
                  <a:gd name="connsiteY31" fmla="*/ 1173577 h 4068206"/>
                  <a:gd name="connsiteX32" fmla="*/ 271532 w 3353970"/>
                  <a:gd name="connsiteY32" fmla="*/ 3630672 h 4068206"/>
                  <a:gd name="connsiteX33" fmla="*/ 442122 w 3353970"/>
                  <a:gd name="connsiteY33" fmla="*/ 3801262 h 4068206"/>
                  <a:gd name="connsiteX34" fmla="*/ 2943154 w 3353970"/>
                  <a:gd name="connsiteY34" fmla="*/ 3801262 h 4068206"/>
                  <a:gd name="connsiteX35" fmla="*/ 3113744 w 3353970"/>
                  <a:gd name="connsiteY35" fmla="*/ 3630672 h 4068206"/>
                  <a:gd name="connsiteX36" fmla="*/ 3113744 w 3353970"/>
                  <a:gd name="connsiteY36" fmla="*/ 415205 h 4068206"/>
                  <a:gd name="connsiteX37" fmla="*/ 2943154 w 3353970"/>
                  <a:gd name="connsiteY37" fmla="*/ 244615 h 4068206"/>
                  <a:gd name="connsiteX38" fmla="*/ 3022095 w 3353970"/>
                  <a:gd name="connsiteY38" fmla="*/ 0 h 4068206"/>
                  <a:gd name="connsiteX39" fmla="*/ 3353970 w 3353970"/>
                  <a:gd name="connsiteY39" fmla="*/ 331875 h 4068206"/>
                  <a:gd name="connsiteX40" fmla="*/ 3353970 w 3353970"/>
                  <a:gd name="connsiteY40" fmla="*/ 3736331 h 4068206"/>
                  <a:gd name="connsiteX41" fmla="*/ 3022095 w 3353970"/>
                  <a:gd name="connsiteY41" fmla="*/ 4068206 h 4068206"/>
                  <a:gd name="connsiteX42" fmla="*/ 331875 w 3353970"/>
                  <a:gd name="connsiteY42" fmla="*/ 4068206 h 4068206"/>
                  <a:gd name="connsiteX43" fmla="*/ 0 w 3353970"/>
                  <a:gd name="connsiteY43" fmla="*/ 3736331 h 4068206"/>
                  <a:gd name="connsiteX44" fmla="*/ 0 w 3353970"/>
                  <a:gd name="connsiteY44" fmla="*/ 1047346 h 4068206"/>
                  <a:gd name="connsiteX45" fmla="*/ 1047345 w 3353970"/>
                  <a:gd name="connsiteY45" fmla="*/ 1 h 4068206"/>
                  <a:gd name="connsiteX46" fmla="*/ 3022095 w 3353970"/>
                  <a:gd name="connsiteY46" fmla="*/ 0 h 4068206"/>
                  <a:gd name="connsiteX0" fmla="*/ 654838 w 3353970"/>
                  <a:gd name="connsiteY0" fmla="*/ 3004970 h 4068206"/>
                  <a:gd name="connsiteX1" fmla="*/ 2555877 w 3353970"/>
                  <a:gd name="connsiteY1" fmla="*/ 2861714 h 4068206"/>
                  <a:gd name="connsiteX2" fmla="*/ 2699133 w 3353970"/>
                  <a:gd name="connsiteY2" fmla="*/ 3004970 h 4068206"/>
                  <a:gd name="connsiteX3" fmla="*/ 2555877 w 3353970"/>
                  <a:gd name="connsiteY3" fmla="*/ 3148226 h 4068206"/>
                  <a:gd name="connsiteX4" fmla="*/ 654838 w 3353970"/>
                  <a:gd name="connsiteY4" fmla="*/ 3004970 h 4068206"/>
                  <a:gd name="connsiteX5" fmla="*/ 798094 w 3353970"/>
                  <a:gd name="connsiteY5" fmla="*/ 2277716 h 4068206"/>
                  <a:gd name="connsiteX6" fmla="*/ 2555877 w 3353970"/>
                  <a:gd name="connsiteY6" fmla="*/ 2277716 h 4068206"/>
                  <a:gd name="connsiteX7" fmla="*/ 2699133 w 3353970"/>
                  <a:gd name="connsiteY7" fmla="*/ 2420972 h 4068206"/>
                  <a:gd name="connsiteX8" fmla="*/ 2555877 w 3353970"/>
                  <a:gd name="connsiteY8" fmla="*/ 2564228 h 4068206"/>
                  <a:gd name="connsiteX9" fmla="*/ 798094 w 3353970"/>
                  <a:gd name="connsiteY9" fmla="*/ 2564228 h 4068206"/>
                  <a:gd name="connsiteX10" fmla="*/ 654838 w 3353970"/>
                  <a:gd name="connsiteY10" fmla="*/ 2420972 h 4068206"/>
                  <a:gd name="connsiteX11" fmla="*/ 798094 w 3353970"/>
                  <a:gd name="connsiteY11" fmla="*/ 2277716 h 4068206"/>
                  <a:gd name="connsiteX12" fmla="*/ 798094 w 3353970"/>
                  <a:gd name="connsiteY12" fmla="*/ 1693718 h 4068206"/>
                  <a:gd name="connsiteX13" fmla="*/ 2555877 w 3353970"/>
                  <a:gd name="connsiteY13" fmla="*/ 1693718 h 4068206"/>
                  <a:gd name="connsiteX14" fmla="*/ 2699133 w 3353970"/>
                  <a:gd name="connsiteY14" fmla="*/ 1836974 h 4068206"/>
                  <a:gd name="connsiteX15" fmla="*/ 2555877 w 3353970"/>
                  <a:gd name="connsiteY15" fmla="*/ 1980230 h 4068206"/>
                  <a:gd name="connsiteX16" fmla="*/ 798094 w 3353970"/>
                  <a:gd name="connsiteY16" fmla="*/ 1980230 h 4068206"/>
                  <a:gd name="connsiteX17" fmla="*/ 654838 w 3353970"/>
                  <a:gd name="connsiteY17" fmla="*/ 1836974 h 4068206"/>
                  <a:gd name="connsiteX18" fmla="*/ 798094 w 3353970"/>
                  <a:gd name="connsiteY18" fmla="*/ 1693718 h 4068206"/>
                  <a:gd name="connsiteX19" fmla="*/ 1530134 w 3353970"/>
                  <a:gd name="connsiteY19" fmla="*/ 1144192 h 4068206"/>
                  <a:gd name="connsiteX20" fmla="*/ 2555877 w 3353970"/>
                  <a:gd name="connsiteY20" fmla="*/ 1144192 h 4068206"/>
                  <a:gd name="connsiteX21" fmla="*/ 2699133 w 3353970"/>
                  <a:gd name="connsiteY21" fmla="*/ 1287448 h 4068206"/>
                  <a:gd name="connsiteX22" fmla="*/ 2555877 w 3353970"/>
                  <a:gd name="connsiteY22" fmla="*/ 1430704 h 4068206"/>
                  <a:gd name="connsiteX23" fmla="*/ 1530134 w 3353970"/>
                  <a:gd name="connsiteY23" fmla="*/ 1430704 h 4068206"/>
                  <a:gd name="connsiteX24" fmla="*/ 1386878 w 3353970"/>
                  <a:gd name="connsiteY24" fmla="*/ 1287448 h 4068206"/>
                  <a:gd name="connsiteX25" fmla="*/ 1530134 w 3353970"/>
                  <a:gd name="connsiteY25" fmla="*/ 1144192 h 4068206"/>
                  <a:gd name="connsiteX26" fmla="*/ 2943154 w 3353970"/>
                  <a:gd name="connsiteY26" fmla="*/ 244615 h 4068206"/>
                  <a:gd name="connsiteX27" fmla="*/ 1232526 w 3353970"/>
                  <a:gd name="connsiteY27" fmla="*/ 244616 h 4068206"/>
                  <a:gd name="connsiteX28" fmla="*/ 1232526 w 3353970"/>
                  <a:gd name="connsiteY28" fmla="*/ 856139 h 4068206"/>
                  <a:gd name="connsiteX29" fmla="*/ 915088 w 3353970"/>
                  <a:gd name="connsiteY29" fmla="*/ 1173577 h 4068206"/>
                  <a:gd name="connsiteX30" fmla="*/ 271532 w 3353970"/>
                  <a:gd name="connsiteY30" fmla="*/ 1173577 h 4068206"/>
                  <a:gd name="connsiteX31" fmla="*/ 271532 w 3353970"/>
                  <a:gd name="connsiteY31" fmla="*/ 3630672 h 4068206"/>
                  <a:gd name="connsiteX32" fmla="*/ 442122 w 3353970"/>
                  <a:gd name="connsiteY32" fmla="*/ 3801262 h 4068206"/>
                  <a:gd name="connsiteX33" fmla="*/ 2943154 w 3353970"/>
                  <a:gd name="connsiteY33" fmla="*/ 3801262 h 4068206"/>
                  <a:gd name="connsiteX34" fmla="*/ 3113744 w 3353970"/>
                  <a:gd name="connsiteY34" fmla="*/ 3630672 h 4068206"/>
                  <a:gd name="connsiteX35" fmla="*/ 3113744 w 3353970"/>
                  <a:gd name="connsiteY35" fmla="*/ 415205 h 4068206"/>
                  <a:gd name="connsiteX36" fmla="*/ 2943154 w 3353970"/>
                  <a:gd name="connsiteY36" fmla="*/ 244615 h 4068206"/>
                  <a:gd name="connsiteX37" fmla="*/ 3022095 w 3353970"/>
                  <a:gd name="connsiteY37" fmla="*/ 0 h 4068206"/>
                  <a:gd name="connsiteX38" fmla="*/ 3353970 w 3353970"/>
                  <a:gd name="connsiteY38" fmla="*/ 331875 h 4068206"/>
                  <a:gd name="connsiteX39" fmla="*/ 3353970 w 3353970"/>
                  <a:gd name="connsiteY39" fmla="*/ 3736331 h 4068206"/>
                  <a:gd name="connsiteX40" fmla="*/ 3022095 w 3353970"/>
                  <a:gd name="connsiteY40" fmla="*/ 4068206 h 4068206"/>
                  <a:gd name="connsiteX41" fmla="*/ 331875 w 3353970"/>
                  <a:gd name="connsiteY41" fmla="*/ 4068206 h 4068206"/>
                  <a:gd name="connsiteX42" fmla="*/ 0 w 3353970"/>
                  <a:gd name="connsiteY42" fmla="*/ 3736331 h 4068206"/>
                  <a:gd name="connsiteX43" fmla="*/ 0 w 3353970"/>
                  <a:gd name="connsiteY43" fmla="*/ 1047346 h 4068206"/>
                  <a:gd name="connsiteX44" fmla="*/ 1047345 w 3353970"/>
                  <a:gd name="connsiteY44" fmla="*/ 1 h 4068206"/>
                  <a:gd name="connsiteX45" fmla="*/ 3022095 w 3353970"/>
                  <a:gd name="connsiteY45" fmla="*/ 0 h 4068206"/>
                  <a:gd name="connsiteX0" fmla="*/ 2555877 w 3353970"/>
                  <a:gd name="connsiteY0" fmla="*/ 3148226 h 4068206"/>
                  <a:gd name="connsiteX1" fmla="*/ 2555877 w 3353970"/>
                  <a:gd name="connsiteY1" fmla="*/ 2861714 h 4068206"/>
                  <a:gd name="connsiteX2" fmla="*/ 2699133 w 3353970"/>
                  <a:gd name="connsiteY2" fmla="*/ 3004970 h 4068206"/>
                  <a:gd name="connsiteX3" fmla="*/ 2555877 w 3353970"/>
                  <a:gd name="connsiteY3" fmla="*/ 3148226 h 4068206"/>
                  <a:gd name="connsiteX4" fmla="*/ 798094 w 3353970"/>
                  <a:gd name="connsiteY4" fmla="*/ 2277716 h 4068206"/>
                  <a:gd name="connsiteX5" fmla="*/ 2555877 w 3353970"/>
                  <a:gd name="connsiteY5" fmla="*/ 2277716 h 4068206"/>
                  <a:gd name="connsiteX6" fmla="*/ 2699133 w 3353970"/>
                  <a:gd name="connsiteY6" fmla="*/ 2420972 h 4068206"/>
                  <a:gd name="connsiteX7" fmla="*/ 2555877 w 3353970"/>
                  <a:gd name="connsiteY7" fmla="*/ 2564228 h 4068206"/>
                  <a:gd name="connsiteX8" fmla="*/ 798094 w 3353970"/>
                  <a:gd name="connsiteY8" fmla="*/ 2564228 h 4068206"/>
                  <a:gd name="connsiteX9" fmla="*/ 654838 w 3353970"/>
                  <a:gd name="connsiteY9" fmla="*/ 2420972 h 4068206"/>
                  <a:gd name="connsiteX10" fmla="*/ 798094 w 3353970"/>
                  <a:gd name="connsiteY10" fmla="*/ 2277716 h 4068206"/>
                  <a:gd name="connsiteX11" fmla="*/ 798094 w 3353970"/>
                  <a:gd name="connsiteY11" fmla="*/ 1693718 h 4068206"/>
                  <a:gd name="connsiteX12" fmla="*/ 2555877 w 3353970"/>
                  <a:gd name="connsiteY12" fmla="*/ 1693718 h 4068206"/>
                  <a:gd name="connsiteX13" fmla="*/ 2699133 w 3353970"/>
                  <a:gd name="connsiteY13" fmla="*/ 1836974 h 4068206"/>
                  <a:gd name="connsiteX14" fmla="*/ 2555877 w 3353970"/>
                  <a:gd name="connsiteY14" fmla="*/ 1980230 h 4068206"/>
                  <a:gd name="connsiteX15" fmla="*/ 798094 w 3353970"/>
                  <a:gd name="connsiteY15" fmla="*/ 1980230 h 4068206"/>
                  <a:gd name="connsiteX16" fmla="*/ 654838 w 3353970"/>
                  <a:gd name="connsiteY16" fmla="*/ 1836974 h 4068206"/>
                  <a:gd name="connsiteX17" fmla="*/ 798094 w 3353970"/>
                  <a:gd name="connsiteY17" fmla="*/ 1693718 h 4068206"/>
                  <a:gd name="connsiteX18" fmla="*/ 1530134 w 3353970"/>
                  <a:gd name="connsiteY18" fmla="*/ 1144192 h 4068206"/>
                  <a:gd name="connsiteX19" fmla="*/ 2555877 w 3353970"/>
                  <a:gd name="connsiteY19" fmla="*/ 1144192 h 4068206"/>
                  <a:gd name="connsiteX20" fmla="*/ 2699133 w 3353970"/>
                  <a:gd name="connsiteY20" fmla="*/ 1287448 h 4068206"/>
                  <a:gd name="connsiteX21" fmla="*/ 2555877 w 3353970"/>
                  <a:gd name="connsiteY21" fmla="*/ 1430704 h 4068206"/>
                  <a:gd name="connsiteX22" fmla="*/ 1530134 w 3353970"/>
                  <a:gd name="connsiteY22" fmla="*/ 1430704 h 4068206"/>
                  <a:gd name="connsiteX23" fmla="*/ 1386878 w 3353970"/>
                  <a:gd name="connsiteY23" fmla="*/ 1287448 h 4068206"/>
                  <a:gd name="connsiteX24" fmla="*/ 1530134 w 3353970"/>
                  <a:gd name="connsiteY24" fmla="*/ 1144192 h 4068206"/>
                  <a:gd name="connsiteX25" fmla="*/ 2943154 w 3353970"/>
                  <a:gd name="connsiteY25" fmla="*/ 244615 h 4068206"/>
                  <a:gd name="connsiteX26" fmla="*/ 1232526 w 3353970"/>
                  <a:gd name="connsiteY26" fmla="*/ 244616 h 4068206"/>
                  <a:gd name="connsiteX27" fmla="*/ 1232526 w 3353970"/>
                  <a:gd name="connsiteY27" fmla="*/ 856139 h 4068206"/>
                  <a:gd name="connsiteX28" fmla="*/ 915088 w 3353970"/>
                  <a:gd name="connsiteY28" fmla="*/ 1173577 h 4068206"/>
                  <a:gd name="connsiteX29" fmla="*/ 271532 w 3353970"/>
                  <a:gd name="connsiteY29" fmla="*/ 1173577 h 4068206"/>
                  <a:gd name="connsiteX30" fmla="*/ 271532 w 3353970"/>
                  <a:gd name="connsiteY30" fmla="*/ 3630672 h 4068206"/>
                  <a:gd name="connsiteX31" fmla="*/ 442122 w 3353970"/>
                  <a:gd name="connsiteY31" fmla="*/ 3801262 h 4068206"/>
                  <a:gd name="connsiteX32" fmla="*/ 2943154 w 3353970"/>
                  <a:gd name="connsiteY32" fmla="*/ 3801262 h 4068206"/>
                  <a:gd name="connsiteX33" fmla="*/ 3113744 w 3353970"/>
                  <a:gd name="connsiteY33" fmla="*/ 3630672 h 4068206"/>
                  <a:gd name="connsiteX34" fmla="*/ 3113744 w 3353970"/>
                  <a:gd name="connsiteY34" fmla="*/ 415205 h 4068206"/>
                  <a:gd name="connsiteX35" fmla="*/ 2943154 w 3353970"/>
                  <a:gd name="connsiteY35" fmla="*/ 244615 h 4068206"/>
                  <a:gd name="connsiteX36" fmla="*/ 3022095 w 3353970"/>
                  <a:gd name="connsiteY36" fmla="*/ 0 h 4068206"/>
                  <a:gd name="connsiteX37" fmla="*/ 3353970 w 3353970"/>
                  <a:gd name="connsiteY37" fmla="*/ 331875 h 4068206"/>
                  <a:gd name="connsiteX38" fmla="*/ 3353970 w 3353970"/>
                  <a:gd name="connsiteY38" fmla="*/ 3736331 h 4068206"/>
                  <a:gd name="connsiteX39" fmla="*/ 3022095 w 3353970"/>
                  <a:gd name="connsiteY39" fmla="*/ 4068206 h 4068206"/>
                  <a:gd name="connsiteX40" fmla="*/ 331875 w 3353970"/>
                  <a:gd name="connsiteY40" fmla="*/ 4068206 h 4068206"/>
                  <a:gd name="connsiteX41" fmla="*/ 0 w 3353970"/>
                  <a:gd name="connsiteY41" fmla="*/ 3736331 h 4068206"/>
                  <a:gd name="connsiteX42" fmla="*/ 0 w 3353970"/>
                  <a:gd name="connsiteY42" fmla="*/ 1047346 h 4068206"/>
                  <a:gd name="connsiteX43" fmla="*/ 1047345 w 3353970"/>
                  <a:gd name="connsiteY43" fmla="*/ 1 h 4068206"/>
                  <a:gd name="connsiteX44" fmla="*/ 3022095 w 3353970"/>
                  <a:gd name="connsiteY44" fmla="*/ 0 h 4068206"/>
                  <a:gd name="connsiteX0" fmla="*/ 2555877 w 3353970"/>
                  <a:gd name="connsiteY0" fmla="*/ 3148226 h 4068206"/>
                  <a:gd name="connsiteX1" fmla="*/ 2555877 w 3353970"/>
                  <a:gd name="connsiteY1" fmla="*/ 2861714 h 4068206"/>
                  <a:gd name="connsiteX2" fmla="*/ 2699133 w 3353970"/>
                  <a:gd name="connsiteY2" fmla="*/ 3004970 h 4068206"/>
                  <a:gd name="connsiteX3" fmla="*/ 2555877 w 3353970"/>
                  <a:gd name="connsiteY3" fmla="*/ 3148226 h 4068206"/>
                  <a:gd name="connsiteX4" fmla="*/ 798094 w 3353970"/>
                  <a:gd name="connsiteY4" fmla="*/ 2277716 h 4068206"/>
                  <a:gd name="connsiteX5" fmla="*/ 2555877 w 3353970"/>
                  <a:gd name="connsiteY5" fmla="*/ 2277716 h 4068206"/>
                  <a:gd name="connsiteX6" fmla="*/ 2699133 w 3353970"/>
                  <a:gd name="connsiteY6" fmla="*/ 2420972 h 4068206"/>
                  <a:gd name="connsiteX7" fmla="*/ 2555877 w 3353970"/>
                  <a:gd name="connsiteY7" fmla="*/ 2564228 h 4068206"/>
                  <a:gd name="connsiteX8" fmla="*/ 654838 w 3353970"/>
                  <a:gd name="connsiteY8" fmla="*/ 2420972 h 4068206"/>
                  <a:gd name="connsiteX9" fmla="*/ 798094 w 3353970"/>
                  <a:gd name="connsiteY9" fmla="*/ 2277716 h 4068206"/>
                  <a:gd name="connsiteX10" fmla="*/ 798094 w 3353970"/>
                  <a:gd name="connsiteY10" fmla="*/ 1693718 h 4068206"/>
                  <a:gd name="connsiteX11" fmla="*/ 2555877 w 3353970"/>
                  <a:gd name="connsiteY11" fmla="*/ 1693718 h 4068206"/>
                  <a:gd name="connsiteX12" fmla="*/ 2699133 w 3353970"/>
                  <a:gd name="connsiteY12" fmla="*/ 1836974 h 4068206"/>
                  <a:gd name="connsiteX13" fmla="*/ 2555877 w 3353970"/>
                  <a:gd name="connsiteY13" fmla="*/ 1980230 h 4068206"/>
                  <a:gd name="connsiteX14" fmla="*/ 798094 w 3353970"/>
                  <a:gd name="connsiteY14" fmla="*/ 1980230 h 4068206"/>
                  <a:gd name="connsiteX15" fmla="*/ 654838 w 3353970"/>
                  <a:gd name="connsiteY15" fmla="*/ 1836974 h 4068206"/>
                  <a:gd name="connsiteX16" fmla="*/ 798094 w 3353970"/>
                  <a:gd name="connsiteY16" fmla="*/ 1693718 h 4068206"/>
                  <a:gd name="connsiteX17" fmla="*/ 1530134 w 3353970"/>
                  <a:gd name="connsiteY17" fmla="*/ 1144192 h 4068206"/>
                  <a:gd name="connsiteX18" fmla="*/ 2555877 w 3353970"/>
                  <a:gd name="connsiteY18" fmla="*/ 1144192 h 4068206"/>
                  <a:gd name="connsiteX19" fmla="*/ 2699133 w 3353970"/>
                  <a:gd name="connsiteY19" fmla="*/ 1287448 h 4068206"/>
                  <a:gd name="connsiteX20" fmla="*/ 2555877 w 3353970"/>
                  <a:gd name="connsiteY20" fmla="*/ 1430704 h 4068206"/>
                  <a:gd name="connsiteX21" fmla="*/ 1530134 w 3353970"/>
                  <a:gd name="connsiteY21" fmla="*/ 1430704 h 4068206"/>
                  <a:gd name="connsiteX22" fmla="*/ 1386878 w 3353970"/>
                  <a:gd name="connsiteY22" fmla="*/ 1287448 h 4068206"/>
                  <a:gd name="connsiteX23" fmla="*/ 1530134 w 3353970"/>
                  <a:gd name="connsiteY23" fmla="*/ 1144192 h 4068206"/>
                  <a:gd name="connsiteX24" fmla="*/ 2943154 w 3353970"/>
                  <a:gd name="connsiteY24" fmla="*/ 244615 h 4068206"/>
                  <a:gd name="connsiteX25" fmla="*/ 1232526 w 3353970"/>
                  <a:gd name="connsiteY25" fmla="*/ 244616 h 4068206"/>
                  <a:gd name="connsiteX26" fmla="*/ 1232526 w 3353970"/>
                  <a:gd name="connsiteY26" fmla="*/ 856139 h 4068206"/>
                  <a:gd name="connsiteX27" fmla="*/ 915088 w 3353970"/>
                  <a:gd name="connsiteY27" fmla="*/ 1173577 h 4068206"/>
                  <a:gd name="connsiteX28" fmla="*/ 271532 w 3353970"/>
                  <a:gd name="connsiteY28" fmla="*/ 1173577 h 4068206"/>
                  <a:gd name="connsiteX29" fmla="*/ 271532 w 3353970"/>
                  <a:gd name="connsiteY29" fmla="*/ 3630672 h 4068206"/>
                  <a:gd name="connsiteX30" fmla="*/ 442122 w 3353970"/>
                  <a:gd name="connsiteY30" fmla="*/ 3801262 h 4068206"/>
                  <a:gd name="connsiteX31" fmla="*/ 2943154 w 3353970"/>
                  <a:gd name="connsiteY31" fmla="*/ 3801262 h 4068206"/>
                  <a:gd name="connsiteX32" fmla="*/ 3113744 w 3353970"/>
                  <a:gd name="connsiteY32" fmla="*/ 3630672 h 4068206"/>
                  <a:gd name="connsiteX33" fmla="*/ 3113744 w 3353970"/>
                  <a:gd name="connsiteY33" fmla="*/ 415205 h 4068206"/>
                  <a:gd name="connsiteX34" fmla="*/ 2943154 w 3353970"/>
                  <a:gd name="connsiteY34" fmla="*/ 244615 h 4068206"/>
                  <a:gd name="connsiteX35" fmla="*/ 3022095 w 3353970"/>
                  <a:gd name="connsiteY35" fmla="*/ 0 h 4068206"/>
                  <a:gd name="connsiteX36" fmla="*/ 3353970 w 3353970"/>
                  <a:gd name="connsiteY36" fmla="*/ 331875 h 4068206"/>
                  <a:gd name="connsiteX37" fmla="*/ 3353970 w 3353970"/>
                  <a:gd name="connsiteY37" fmla="*/ 3736331 h 4068206"/>
                  <a:gd name="connsiteX38" fmla="*/ 3022095 w 3353970"/>
                  <a:gd name="connsiteY38" fmla="*/ 4068206 h 4068206"/>
                  <a:gd name="connsiteX39" fmla="*/ 331875 w 3353970"/>
                  <a:gd name="connsiteY39" fmla="*/ 4068206 h 4068206"/>
                  <a:gd name="connsiteX40" fmla="*/ 0 w 3353970"/>
                  <a:gd name="connsiteY40" fmla="*/ 3736331 h 4068206"/>
                  <a:gd name="connsiteX41" fmla="*/ 0 w 3353970"/>
                  <a:gd name="connsiteY41" fmla="*/ 1047346 h 4068206"/>
                  <a:gd name="connsiteX42" fmla="*/ 1047345 w 3353970"/>
                  <a:gd name="connsiteY42" fmla="*/ 1 h 4068206"/>
                  <a:gd name="connsiteX43" fmla="*/ 3022095 w 3353970"/>
                  <a:gd name="connsiteY43" fmla="*/ 0 h 4068206"/>
                  <a:gd name="connsiteX0" fmla="*/ 2555877 w 3353970"/>
                  <a:gd name="connsiteY0" fmla="*/ 3148226 h 4068206"/>
                  <a:gd name="connsiteX1" fmla="*/ 2555877 w 3353970"/>
                  <a:gd name="connsiteY1" fmla="*/ 2861714 h 4068206"/>
                  <a:gd name="connsiteX2" fmla="*/ 2699133 w 3353970"/>
                  <a:gd name="connsiteY2" fmla="*/ 3004970 h 4068206"/>
                  <a:gd name="connsiteX3" fmla="*/ 2555877 w 3353970"/>
                  <a:gd name="connsiteY3" fmla="*/ 3148226 h 4068206"/>
                  <a:gd name="connsiteX4" fmla="*/ 654838 w 3353970"/>
                  <a:gd name="connsiteY4" fmla="*/ 2420972 h 4068206"/>
                  <a:gd name="connsiteX5" fmla="*/ 2555877 w 3353970"/>
                  <a:gd name="connsiteY5" fmla="*/ 2277716 h 4068206"/>
                  <a:gd name="connsiteX6" fmla="*/ 2699133 w 3353970"/>
                  <a:gd name="connsiteY6" fmla="*/ 2420972 h 4068206"/>
                  <a:gd name="connsiteX7" fmla="*/ 2555877 w 3353970"/>
                  <a:gd name="connsiteY7" fmla="*/ 2564228 h 4068206"/>
                  <a:gd name="connsiteX8" fmla="*/ 654838 w 3353970"/>
                  <a:gd name="connsiteY8" fmla="*/ 2420972 h 4068206"/>
                  <a:gd name="connsiteX9" fmla="*/ 798094 w 3353970"/>
                  <a:gd name="connsiteY9" fmla="*/ 1693718 h 4068206"/>
                  <a:gd name="connsiteX10" fmla="*/ 2555877 w 3353970"/>
                  <a:gd name="connsiteY10" fmla="*/ 1693718 h 4068206"/>
                  <a:gd name="connsiteX11" fmla="*/ 2699133 w 3353970"/>
                  <a:gd name="connsiteY11" fmla="*/ 1836974 h 4068206"/>
                  <a:gd name="connsiteX12" fmla="*/ 2555877 w 3353970"/>
                  <a:gd name="connsiteY12" fmla="*/ 1980230 h 4068206"/>
                  <a:gd name="connsiteX13" fmla="*/ 798094 w 3353970"/>
                  <a:gd name="connsiteY13" fmla="*/ 1980230 h 4068206"/>
                  <a:gd name="connsiteX14" fmla="*/ 654838 w 3353970"/>
                  <a:gd name="connsiteY14" fmla="*/ 1836974 h 4068206"/>
                  <a:gd name="connsiteX15" fmla="*/ 798094 w 3353970"/>
                  <a:gd name="connsiteY15" fmla="*/ 1693718 h 4068206"/>
                  <a:gd name="connsiteX16" fmla="*/ 1530134 w 3353970"/>
                  <a:gd name="connsiteY16" fmla="*/ 1144192 h 4068206"/>
                  <a:gd name="connsiteX17" fmla="*/ 2555877 w 3353970"/>
                  <a:gd name="connsiteY17" fmla="*/ 1144192 h 4068206"/>
                  <a:gd name="connsiteX18" fmla="*/ 2699133 w 3353970"/>
                  <a:gd name="connsiteY18" fmla="*/ 1287448 h 4068206"/>
                  <a:gd name="connsiteX19" fmla="*/ 2555877 w 3353970"/>
                  <a:gd name="connsiteY19" fmla="*/ 1430704 h 4068206"/>
                  <a:gd name="connsiteX20" fmla="*/ 1530134 w 3353970"/>
                  <a:gd name="connsiteY20" fmla="*/ 1430704 h 4068206"/>
                  <a:gd name="connsiteX21" fmla="*/ 1386878 w 3353970"/>
                  <a:gd name="connsiteY21" fmla="*/ 1287448 h 4068206"/>
                  <a:gd name="connsiteX22" fmla="*/ 1530134 w 3353970"/>
                  <a:gd name="connsiteY22" fmla="*/ 1144192 h 4068206"/>
                  <a:gd name="connsiteX23" fmla="*/ 2943154 w 3353970"/>
                  <a:gd name="connsiteY23" fmla="*/ 244615 h 4068206"/>
                  <a:gd name="connsiteX24" fmla="*/ 1232526 w 3353970"/>
                  <a:gd name="connsiteY24" fmla="*/ 244616 h 4068206"/>
                  <a:gd name="connsiteX25" fmla="*/ 1232526 w 3353970"/>
                  <a:gd name="connsiteY25" fmla="*/ 856139 h 4068206"/>
                  <a:gd name="connsiteX26" fmla="*/ 915088 w 3353970"/>
                  <a:gd name="connsiteY26" fmla="*/ 1173577 h 4068206"/>
                  <a:gd name="connsiteX27" fmla="*/ 271532 w 3353970"/>
                  <a:gd name="connsiteY27" fmla="*/ 1173577 h 4068206"/>
                  <a:gd name="connsiteX28" fmla="*/ 271532 w 3353970"/>
                  <a:gd name="connsiteY28" fmla="*/ 3630672 h 4068206"/>
                  <a:gd name="connsiteX29" fmla="*/ 442122 w 3353970"/>
                  <a:gd name="connsiteY29" fmla="*/ 3801262 h 4068206"/>
                  <a:gd name="connsiteX30" fmla="*/ 2943154 w 3353970"/>
                  <a:gd name="connsiteY30" fmla="*/ 3801262 h 4068206"/>
                  <a:gd name="connsiteX31" fmla="*/ 3113744 w 3353970"/>
                  <a:gd name="connsiteY31" fmla="*/ 3630672 h 4068206"/>
                  <a:gd name="connsiteX32" fmla="*/ 3113744 w 3353970"/>
                  <a:gd name="connsiteY32" fmla="*/ 415205 h 4068206"/>
                  <a:gd name="connsiteX33" fmla="*/ 2943154 w 3353970"/>
                  <a:gd name="connsiteY33" fmla="*/ 244615 h 4068206"/>
                  <a:gd name="connsiteX34" fmla="*/ 3022095 w 3353970"/>
                  <a:gd name="connsiteY34" fmla="*/ 0 h 4068206"/>
                  <a:gd name="connsiteX35" fmla="*/ 3353970 w 3353970"/>
                  <a:gd name="connsiteY35" fmla="*/ 331875 h 4068206"/>
                  <a:gd name="connsiteX36" fmla="*/ 3353970 w 3353970"/>
                  <a:gd name="connsiteY36" fmla="*/ 3736331 h 4068206"/>
                  <a:gd name="connsiteX37" fmla="*/ 3022095 w 3353970"/>
                  <a:gd name="connsiteY37" fmla="*/ 4068206 h 4068206"/>
                  <a:gd name="connsiteX38" fmla="*/ 331875 w 3353970"/>
                  <a:gd name="connsiteY38" fmla="*/ 4068206 h 4068206"/>
                  <a:gd name="connsiteX39" fmla="*/ 0 w 3353970"/>
                  <a:gd name="connsiteY39" fmla="*/ 3736331 h 4068206"/>
                  <a:gd name="connsiteX40" fmla="*/ 0 w 3353970"/>
                  <a:gd name="connsiteY40" fmla="*/ 1047346 h 4068206"/>
                  <a:gd name="connsiteX41" fmla="*/ 1047345 w 3353970"/>
                  <a:gd name="connsiteY41" fmla="*/ 1 h 4068206"/>
                  <a:gd name="connsiteX42" fmla="*/ 3022095 w 3353970"/>
                  <a:gd name="connsiteY42" fmla="*/ 0 h 4068206"/>
                  <a:gd name="connsiteX0" fmla="*/ 2555877 w 3353970"/>
                  <a:gd name="connsiteY0" fmla="*/ 3148226 h 4068206"/>
                  <a:gd name="connsiteX1" fmla="*/ 2555877 w 3353970"/>
                  <a:gd name="connsiteY1" fmla="*/ 2861714 h 4068206"/>
                  <a:gd name="connsiteX2" fmla="*/ 2699133 w 3353970"/>
                  <a:gd name="connsiteY2" fmla="*/ 3004970 h 4068206"/>
                  <a:gd name="connsiteX3" fmla="*/ 2555877 w 3353970"/>
                  <a:gd name="connsiteY3" fmla="*/ 3148226 h 4068206"/>
                  <a:gd name="connsiteX4" fmla="*/ 654838 w 3353970"/>
                  <a:gd name="connsiteY4" fmla="*/ 2420972 h 4068206"/>
                  <a:gd name="connsiteX5" fmla="*/ 2555877 w 3353970"/>
                  <a:gd name="connsiteY5" fmla="*/ 2277716 h 4068206"/>
                  <a:gd name="connsiteX6" fmla="*/ 2699133 w 3353970"/>
                  <a:gd name="connsiteY6" fmla="*/ 2420972 h 4068206"/>
                  <a:gd name="connsiteX7" fmla="*/ 654838 w 3353970"/>
                  <a:gd name="connsiteY7" fmla="*/ 2420972 h 4068206"/>
                  <a:gd name="connsiteX8" fmla="*/ 798094 w 3353970"/>
                  <a:gd name="connsiteY8" fmla="*/ 1693718 h 4068206"/>
                  <a:gd name="connsiteX9" fmla="*/ 2555877 w 3353970"/>
                  <a:gd name="connsiteY9" fmla="*/ 1693718 h 4068206"/>
                  <a:gd name="connsiteX10" fmla="*/ 2699133 w 3353970"/>
                  <a:gd name="connsiteY10" fmla="*/ 1836974 h 4068206"/>
                  <a:gd name="connsiteX11" fmla="*/ 2555877 w 3353970"/>
                  <a:gd name="connsiteY11" fmla="*/ 1980230 h 4068206"/>
                  <a:gd name="connsiteX12" fmla="*/ 798094 w 3353970"/>
                  <a:gd name="connsiteY12" fmla="*/ 1980230 h 4068206"/>
                  <a:gd name="connsiteX13" fmla="*/ 654838 w 3353970"/>
                  <a:gd name="connsiteY13" fmla="*/ 1836974 h 4068206"/>
                  <a:gd name="connsiteX14" fmla="*/ 798094 w 3353970"/>
                  <a:gd name="connsiteY14" fmla="*/ 1693718 h 4068206"/>
                  <a:gd name="connsiteX15" fmla="*/ 1530134 w 3353970"/>
                  <a:gd name="connsiteY15" fmla="*/ 1144192 h 4068206"/>
                  <a:gd name="connsiteX16" fmla="*/ 2555877 w 3353970"/>
                  <a:gd name="connsiteY16" fmla="*/ 1144192 h 4068206"/>
                  <a:gd name="connsiteX17" fmla="*/ 2699133 w 3353970"/>
                  <a:gd name="connsiteY17" fmla="*/ 1287448 h 4068206"/>
                  <a:gd name="connsiteX18" fmla="*/ 2555877 w 3353970"/>
                  <a:gd name="connsiteY18" fmla="*/ 1430704 h 4068206"/>
                  <a:gd name="connsiteX19" fmla="*/ 1530134 w 3353970"/>
                  <a:gd name="connsiteY19" fmla="*/ 1430704 h 4068206"/>
                  <a:gd name="connsiteX20" fmla="*/ 1386878 w 3353970"/>
                  <a:gd name="connsiteY20" fmla="*/ 1287448 h 4068206"/>
                  <a:gd name="connsiteX21" fmla="*/ 1530134 w 3353970"/>
                  <a:gd name="connsiteY21" fmla="*/ 1144192 h 4068206"/>
                  <a:gd name="connsiteX22" fmla="*/ 2943154 w 3353970"/>
                  <a:gd name="connsiteY22" fmla="*/ 244615 h 4068206"/>
                  <a:gd name="connsiteX23" fmla="*/ 1232526 w 3353970"/>
                  <a:gd name="connsiteY23" fmla="*/ 244616 h 4068206"/>
                  <a:gd name="connsiteX24" fmla="*/ 1232526 w 3353970"/>
                  <a:gd name="connsiteY24" fmla="*/ 856139 h 4068206"/>
                  <a:gd name="connsiteX25" fmla="*/ 915088 w 3353970"/>
                  <a:gd name="connsiteY25" fmla="*/ 1173577 h 4068206"/>
                  <a:gd name="connsiteX26" fmla="*/ 271532 w 3353970"/>
                  <a:gd name="connsiteY26" fmla="*/ 1173577 h 4068206"/>
                  <a:gd name="connsiteX27" fmla="*/ 271532 w 3353970"/>
                  <a:gd name="connsiteY27" fmla="*/ 3630672 h 4068206"/>
                  <a:gd name="connsiteX28" fmla="*/ 442122 w 3353970"/>
                  <a:gd name="connsiteY28" fmla="*/ 3801262 h 4068206"/>
                  <a:gd name="connsiteX29" fmla="*/ 2943154 w 3353970"/>
                  <a:gd name="connsiteY29" fmla="*/ 3801262 h 4068206"/>
                  <a:gd name="connsiteX30" fmla="*/ 3113744 w 3353970"/>
                  <a:gd name="connsiteY30" fmla="*/ 3630672 h 4068206"/>
                  <a:gd name="connsiteX31" fmla="*/ 3113744 w 3353970"/>
                  <a:gd name="connsiteY31" fmla="*/ 415205 h 4068206"/>
                  <a:gd name="connsiteX32" fmla="*/ 2943154 w 3353970"/>
                  <a:gd name="connsiteY32" fmla="*/ 244615 h 4068206"/>
                  <a:gd name="connsiteX33" fmla="*/ 3022095 w 3353970"/>
                  <a:gd name="connsiteY33" fmla="*/ 0 h 4068206"/>
                  <a:gd name="connsiteX34" fmla="*/ 3353970 w 3353970"/>
                  <a:gd name="connsiteY34" fmla="*/ 331875 h 4068206"/>
                  <a:gd name="connsiteX35" fmla="*/ 3353970 w 3353970"/>
                  <a:gd name="connsiteY35" fmla="*/ 3736331 h 4068206"/>
                  <a:gd name="connsiteX36" fmla="*/ 3022095 w 3353970"/>
                  <a:gd name="connsiteY36" fmla="*/ 4068206 h 4068206"/>
                  <a:gd name="connsiteX37" fmla="*/ 331875 w 3353970"/>
                  <a:gd name="connsiteY37" fmla="*/ 4068206 h 4068206"/>
                  <a:gd name="connsiteX38" fmla="*/ 0 w 3353970"/>
                  <a:gd name="connsiteY38" fmla="*/ 3736331 h 4068206"/>
                  <a:gd name="connsiteX39" fmla="*/ 0 w 3353970"/>
                  <a:gd name="connsiteY39" fmla="*/ 1047346 h 4068206"/>
                  <a:gd name="connsiteX40" fmla="*/ 1047345 w 3353970"/>
                  <a:gd name="connsiteY40" fmla="*/ 1 h 4068206"/>
                  <a:gd name="connsiteX41" fmla="*/ 3022095 w 3353970"/>
                  <a:gd name="connsiteY41" fmla="*/ 0 h 4068206"/>
                  <a:gd name="connsiteX0" fmla="*/ 2699133 w 3353970"/>
                  <a:gd name="connsiteY0" fmla="*/ 3004970 h 4068206"/>
                  <a:gd name="connsiteX1" fmla="*/ 2555877 w 3353970"/>
                  <a:gd name="connsiteY1" fmla="*/ 2861714 h 4068206"/>
                  <a:gd name="connsiteX2" fmla="*/ 2699133 w 3353970"/>
                  <a:gd name="connsiteY2" fmla="*/ 3004970 h 4068206"/>
                  <a:gd name="connsiteX3" fmla="*/ 654838 w 3353970"/>
                  <a:gd name="connsiteY3" fmla="*/ 2420972 h 4068206"/>
                  <a:gd name="connsiteX4" fmla="*/ 2555877 w 3353970"/>
                  <a:gd name="connsiteY4" fmla="*/ 2277716 h 4068206"/>
                  <a:gd name="connsiteX5" fmla="*/ 2699133 w 3353970"/>
                  <a:gd name="connsiteY5" fmla="*/ 2420972 h 4068206"/>
                  <a:gd name="connsiteX6" fmla="*/ 654838 w 3353970"/>
                  <a:gd name="connsiteY6" fmla="*/ 2420972 h 4068206"/>
                  <a:gd name="connsiteX7" fmla="*/ 798094 w 3353970"/>
                  <a:gd name="connsiteY7" fmla="*/ 1693718 h 4068206"/>
                  <a:gd name="connsiteX8" fmla="*/ 2555877 w 3353970"/>
                  <a:gd name="connsiteY8" fmla="*/ 1693718 h 4068206"/>
                  <a:gd name="connsiteX9" fmla="*/ 2699133 w 3353970"/>
                  <a:gd name="connsiteY9" fmla="*/ 1836974 h 4068206"/>
                  <a:gd name="connsiteX10" fmla="*/ 2555877 w 3353970"/>
                  <a:gd name="connsiteY10" fmla="*/ 1980230 h 4068206"/>
                  <a:gd name="connsiteX11" fmla="*/ 798094 w 3353970"/>
                  <a:gd name="connsiteY11" fmla="*/ 1980230 h 4068206"/>
                  <a:gd name="connsiteX12" fmla="*/ 654838 w 3353970"/>
                  <a:gd name="connsiteY12" fmla="*/ 1836974 h 4068206"/>
                  <a:gd name="connsiteX13" fmla="*/ 798094 w 3353970"/>
                  <a:gd name="connsiteY13" fmla="*/ 1693718 h 4068206"/>
                  <a:gd name="connsiteX14" fmla="*/ 1530134 w 3353970"/>
                  <a:gd name="connsiteY14" fmla="*/ 1144192 h 4068206"/>
                  <a:gd name="connsiteX15" fmla="*/ 2555877 w 3353970"/>
                  <a:gd name="connsiteY15" fmla="*/ 1144192 h 4068206"/>
                  <a:gd name="connsiteX16" fmla="*/ 2699133 w 3353970"/>
                  <a:gd name="connsiteY16" fmla="*/ 1287448 h 4068206"/>
                  <a:gd name="connsiteX17" fmla="*/ 2555877 w 3353970"/>
                  <a:gd name="connsiteY17" fmla="*/ 1430704 h 4068206"/>
                  <a:gd name="connsiteX18" fmla="*/ 1530134 w 3353970"/>
                  <a:gd name="connsiteY18" fmla="*/ 1430704 h 4068206"/>
                  <a:gd name="connsiteX19" fmla="*/ 1386878 w 3353970"/>
                  <a:gd name="connsiteY19" fmla="*/ 1287448 h 4068206"/>
                  <a:gd name="connsiteX20" fmla="*/ 1530134 w 3353970"/>
                  <a:gd name="connsiteY20" fmla="*/ 1144192 h 4068206"/>
                  <a:gd name="connsiteX21" fmla="*/ 2943154 w 3353970"/>
                  <a:gd name="connsiteY21" fmla="*/ 244615 h 4068206"/>
                  <a:gd name="connsiteX22" fmla="*/ 1232526 w 3353970"/>
                  <a:gd name="connsiteY22" fmla="*/ 244616 h 4068206"/>
                  <a:gd name="connsiteX23" fmla="*/ 1232526 w 3353970"/>
                  <a:gd name="connsiteY23" fmla="*/ 856139 h 4068206"/>
                  <a:gd name="connsiteX24" fmla="*/ 915088 w 3353970"/>
                  <a:gd name="connsiteY24" fmla="*/ 1173577 h 4068206"/>
                  <a:gd name="connsiteX25" fmla="*/ 271532 w 3353970"/>
                  <a:gd name="connsiteY25" fmla="*/ 1173577 h 4068206"/>
                  <a:gd name="connsiteX26" fmla="*/ 271532 w 3353970"/>
                  <a:gd name="connsiteY26" fmla="*/ 3630672 h 4068206"/>
                  <a:gd name="connsiteX27" fmla="*/ 442122 w 3353970"/>
                  <a:gd name="connsiteY27" fmla="*/ 3801262 h 4068206"/>
                  <a:gd name="connsiteX28" fmla="*/ 2943154 w 3353970"/>
                  <a:gd name="connsiteY28" fmla="*/ 3801262 h 4068206"/>
                  <a:gd name="connsiteX29" fmla="*/ 3113744 w 3353970"/>
                  <a:gd name="connsiteY29" fmla="*/ 3630672 h 4068206"/>
                  <a:gd name="connsiteX30" fmla="*/ 3113744 w 3353970"/>
                  <a:gd name="connsiteY30" fmla="*/ 415205 h 4068206"/>
                  <a:gd name="connsiteX31" fmla="*/ 2943154 w 3353970"/>
                  <a:gd name="connsiteY31" fmla="*/ 244615 h 4068206"/>
                  <a:gd name="connsiteX32" fmla="*/ 3022095 w 3353970"/>
                  <a:gd name="connsiteY32" fmla="*/ 0 h 4068206"/>
                  <a:gd name="connsiteX33" fmla="*/ 3353970 w 3353970"/>
                  <a:gd name="connsiteY33" fmla="*/ 331875 h 4068206"/>
                  <a:gd name="connsiteX34" fmla="*/ 3353970 w 3353970"/>
                  <a:gd name="connsiteY34" fmla="*/ 3736331 h 4068206"/>
                  <a:gd name="connsiteX35" fmla="*/ 3022095 w 3353970"/>
                  <a:gd name="connsiteY35" fmla="*/ 4068206 h 4068206"/>
                  <a:gd name="connsiteX36" fmla="*/ 331875 w 3353970"/>
                  <a:gd name="connsiteY36" fmla="*/ 4068206 h 4068206"/>
                  <a:gd name="connsiteX37" fmla="*/ 0 w 3353970"/>
                  <a:gd name="connsiteY37" fmla="*/ 3736331 h 4068206"/>
                  <a:gd name="connsiteX38" fmla="*/ 0 w 3353970"/>
                  <a:gd name="connsiteY38" fmla="*/ 1047346 h 4068206"/>
                  <a:gd name="connsiteX39" fmla="*/ 1047345 w 3353970"/>
                  <a:gd name="connsiteY39" fmla="*/ 1 h 4068206"/>
                  <a:gd name="connsiteX40" fmla="*/ 3022095 w 3353970"/>
                  <a:gd name="connsiteY40" fmla="*/ 0 h 4068206"/>
                  <a:gd name="connsiteX0" fmla="*/ 654838 w 3353970"/>
                  <a:gd name="connsiteY0" fmla="*/ 2420972 h 4068206"/>
                  <a:gd name="connsiteX1" fmla="*/ 2555877 w 3353970"/>
                  <a:gd name="connsiteY1" fmla="*/ 2277716 h 4068206"/>
                  <a:gd name="connsiteX2" fmla="*/ 2699133 w 3353970"/>
                  <a:gd name="connsiteY2" fmla="*/ 2420972 h 4068206"/>
                  <a:gd name="connsiteX3" fmla="*/ 654838 w 3353970"/>
                  <a:gd name="connsiteY3" fmla="*/ 2420972 h 4068206"/>
                  <a:gd name="connsiteX4" fmla="*/ 798094 w 3353970"/>
                  <a:gd name="connsiteY4" fmla="*/ 1693718 h 4068206"/>
                  <a:gd name="connsiteX5" fmla="*/ 2555877 w 3353970"/>
                  <a:gd name="connsiteY5" fmla="*/ 1693718 h 4068206"/>
                  <a:gd name="connsiteX6" fmla="*/ 2699133 w 3353970"/>
                  <a:gd name="connsiteY6" fmla="*/ 1836974 h 4068206"/>
                  <a:gd name="connsiteX7" fmla="*/ 2555877 w 3353970"/>
                  <a:gd name="connsiteY7" fmla="*/ 1980230 h 4068206"/>
                  <a:gd name="connsiteX8" fmla="*/ 798094 w 3353970"/>
                  <a:gd name="connsiteY8" fmla="*/ 1980230 h 4068206"/>
                  <a:gd name="connsiteX9" fmla="*/ 654838 w 3353970"/>
                  <a:gd name="connsiteY9" fmla="*/ 1836974 h 4068206"/>
                  <a:gd name="connsiteX10" fmla="*/ 798094 w 3353970"/>
                  <a:gd name="connsiteY10" fmla="*/ 1693718 h 4068206"/>
                  <a:gd name="connsiteX11" fmla="*/ 1530134 w 3353970"/>
                  <a:gd name="connsiteY11" fmla="*/ 1144192 h 4068206"/>
                  <a:gd name="connsiteX12" fmla="*/ 2555877 w 3353970"/>
                  <a:gd name="connsiteY12" fmla="*/ 1144192 h 4068206"/>
                  <a:gd name="connsiteX13" fmla="*/ 2699133 w 3353970"/>
                  <a:gd name="connsiteY13" fmla="*/ 1287448 h 4068206"/>
                  <a:gd name="connsiteX14" fmla="*/ 2555877 w 3353970"/>
                  <a:gd name="connsiteY14" fmla="*/ 1430704 h 4068206"/>
                  <a:gd name="connsiteX15" fmla="*/ 1530134 w 3353970"/>
                  <a:gd name="connsiteY15" fmla="*/ 1430704 h 4068206"/>
                  <a:gd name="connsiteX16" fmla="*/ 1386878 w 3353970"/>
                  <a:gd name="connsiteY16" fmla="*/ 1287448 h 4068206"/>
                  <a:gd name="connsiteX17" fmla="*/ 1530134 w 3353970"/>
                  <a:gd name="connsiteY17" fmla="*/ 1144192 h 4068206"/>
                  <a:gd name="connsiteX18" fmla="*/ 2943154 w 3353970"/>
                  <a:gd name="connsiteY18" fmla="*/ 244615 h 4068206"/>
                  <a:gd name="connsiteX19" fmla="*/ 1232526 w 3353970"/>
                  <a:gd name="connsiteY19" fmla="*/ 244616 h 4068206"/>
                  <a:gd name="connsiteX20" fmla="*/ 1232526 w 3353970"/>
                  <a:gd name="connsiteY20" fmla="*/ 856139 h 4068206"/>
                  <a:gd name="connsiteX21" fmla="*/ 915088 w 3353970"/>
                  <a:gd name="connsiteY21" fmla="*/ 1173577 h 4068206"/>
                  <a:gd name="connsiteX22" fmla="*/ 271532 w 3353970"/>
                  <a:gd name="connsiteY22" fmla="*/ 1173577 h 4068206"/>
                  <a:gd name="connsiteX23" fmla="*/ 271532 w 3353970"/>
                  <a:gd name="connsiteY23" fmla="*/ 3630672 h 4068206"/>
                  <a:gd name="connsiteX24" fmla="*/ 442122 w 3353970"/>
                  <a:gd name="connsiteY24" fmla="*/ 3801262 h 4068206"/>
                  <a:gd name="connsiteX25" fmla="*/ 2943154 w 3353970"/>
                  <a:gd name="connsiteY25" fmla="*/ 3801262 h 4068206"/>
                  <a:gd name="connsiteX26" fmla="*/ 3113744 w 3353970"/>
                  <a:gd name="connsiteY26" fmla="*/ 3630672 h 4068206"/>
                  <a:gd name="connsiteX27" fmla="*/ 3113744 w 3353970"/>
                  <a:gd name="connsiteY27" fmla="*/ 415205 h 4068206"/>
                  <a:gd name="connsiteX28" fmla="*/ 2943154 w 3353970"/>
                  <a:gd name="connsiteY28" fmla="*/ 244615 h 4068206"/>
                  <a:gd name="connsiteX29" fmla="*/ 3022095 w 3353970"/>
                  <a:gd name="connsiteY29" fmla="*/ 0 h 4068206"/>
                  <a:gd name="connsiteX30" fmla="*/ 3353970 w 3353970"/>
                  <a:gd name="connsiteY30" fmla="*/ 331875 h 4068206"/>
                  <a:gd name="connsiteX31" fmla="*/ 3353970 w 3353970"/>
                  <a:gd name="connsiteY31" fmla="*/ 3736331 h 4068206"/>
                  <a:gd name="connsiteX32" fmla="*/ 3022095 w 3353970"/>
                  <a:gd name="connsiteY32" fmla="*/ 4068206 h 4068206"/>
                  <a:gd name="connsiteX33" fmla="*/ 331875 w 3353970"/>
                  <a:gd name="connsiteY33" fmla="*/ 4068206 h 4068206"/>
                  <a:gd name="connsiteX34" fmla="*/ 0 w 3353970"/>
                  <a:gd name="connsiteY34" fmla="*/ 3736331 h 4068206"/>
                  <a:gd name="connsiteX35" fmla="*/ 0 w 3353970"/>
                  <a:gd name="connsiteY35" fmla="*/ 1047346 h 4068206"/>
                  <a:gd name="connsiteX36" fmla="*/ 1047345 w 3353970"/>
                  <a:gd name="connsiteY36" fmla="*/ 1 h 4068206"/>
                  <a:gd name="connsiteX37" fmla="*/ 3022095 w 3353970"/>
                  <a:gd name="connsiteY37" fmla="*/ 0 h 4068206"/>
                  <a:gd name="connsiteX0" fmla="*/ 654838 w 3353970"/>
                  <a:gd name="connsiteY0" fmla="*/ 2420972 h 4068206"/>
                  <a:gd name="connsiteX1" fmla="*/ 2699133 w 3353970"/>
                  <a:gd name="connsiteY1" fmla="*/ 2420972 h 4068206"/>
                  <a:gd name="connsiteX2" fmla="*/ 654838 w 3353970"/>
                  <a:gd name="connsiteY2" fmla="*/ 2420972 h 4068206"/>
                  <a:gd name="connsiteX3" fmla="*/ 798094 w 3353970"/>
                  <a:gd name="connsiteY3" fmla="*/ 1693718 h 4068206"/>
                  <a:gd name="connsiteX4" fmla="*/ 2555877 w 3353970"/>
                  <a:gd name="connsiteY4" fmla="*/ 1693718 h 4068206"/>
                  <a:gd name="connsiteX5" fmla="*/ 2699133 w 3353970"/>
                  <a:gd name="connsiteY5" fmla="*/ 1836974 h 4068206"/>
                  <a:gd name="connsiteX6" fmla="*/ 2555877 w 3353970"/>
                  <a:gd name="connsiteY6" fmla="*/ 1980230 h 4068206"/>
                  <a:gd name="connsiteX7" fmla="*/ 798094 w 3353970"/>
                  <a:gd name="connsiteY7" fmla="*/ 1980230 h 4068206"/>
                  <a:gd name="connsiteX8" fmla="*/ 654838 w 3353970"/>
                  <a:gd name="connsiteY8" fmla="*/ 1836974 h 4068206"/>
                  <a:gd name="connsiteX9" fmla="*/ 798094 w 3353970"/>
                  <a:gd name="connsiteY9" fmla="*/ 1693718 h 4068206"/>
                  <a:gd name="connsiteX10" fmla="*/ 1530134 w 3353970"/>
                  <a:gd name="connsiteY10" fmla="*/ 1144192 h 4068206"/>
                  <a:gd name="connsiteX11" fmla="*/ 2555877 w 3353970"/>
                  <a:gd name="connsiteY11" fmla="*/ 1144192 h 4068206"/>
                  <a:gd name="connsiteX12" fmla="*/ 2699133 w 3353970"/>
                  <a:gd name="connsiteY12" fmla="*/ 1287448 h 4068206"/>
                  <a:gd name="connsiteX13" fmla="*/ 2555877 w 3353970"/>
                  <a:gd name="connsiteY13" fmla="*/ 1430704 h 4068206"/>
                  <a:gd name="connsiteX14" fmla="*/ 1530134 w 3353970"/>
                  <a:gd name="connsiteY14" fmla="*/ 1430704 h 4068206"/>
                  <a:gd name="connsiteX15" fmla="*/ 1386878 w 3353970"/>
                  <a:gd name="connsiteY15" fmla="*/ 1287448 h 4068206"/>
                  <a:gd name="connsiteX16" fmla="*/ 1530134 w 3353970"/>
                  <a:gd name="connsiteY16" fmla="*/ 1144192 h 4068206"/>
                  <a:gd name="connsiteX17" fmla="*/ 2943154 w 3353970"/>
                  <a:gd name="connsiteY17" fmla="*/ 244615 h 4068206"/>
                  <a:gd name="connsiteX18" fmla="*/ 1232526 w 3353970"/>
                  <a:gd name="connsiteY18" fmla="*/ 244616 h 4068206"/>
                  <a:gd name="connsiteX19" fmla="*/ 1232526 w 3353970"/>
                  <a:gd name="connsiteY19" fmla="*/ 856139 h 4068206"/>
                  <a:gd name="connsiteX20" fmla="*/ 915088 w 3353970"/>
                  <a:gd name="connsiteY20" fmla="*/ 1173577 h 4068206"/>
                  <a:gd name="connsiteX21" fmla="*/ 271532 w 3353970"/>
                  <a:gd name="connsiteY21" fmla="*/ 1173577 h 4068206"/>
                  <a:gd name="connsiteX22" fmla="*/ 271532 w 3353970"/>
                  <a:gd name="connsiteY22" fmla="*/ 3630672 h 4068206"/>
                  <a:gd name="connsiteX23" fmla="*/ 442122 w 3353970"/>
                  <a:gd name="connsiteY23" fmla="*/ 3801262 h 4068206"/>
                  <a:gd name="connsiteX24" fmla="*/ 2943154 w 3353970"/>
                  <a:gd name="connsiteY24" fmla="*/ 3801262 h 4068206"/>
                  <a:gd name="connsiteX25" fmla="*/ 3113744 w 3353970"/>
                  <a:gd name="connsiteY25" fmla="*/ 3630672 h 4068206"/>
                  <a:gd name="connsiteX26" fmla="*/ 3113744 w 3353970"/>
                  <a:gd name="connsiteY26" fmla="*/ 415205 h 4068206"/>
                  <a:gd name="connsiteX27" fmla="*/ 2943154 w 3353970"/>
                  <a:gd name="connsiteY27" fmla="*/ 244615 h 4068206"/>
                  <a:gd name="connsiteX28" fmla="*/ 3022095 w 3353970"/>
                  <a:gd name="connsiteY28" fmla="*/ 0 h 4068206"/>
                  <a:gd name="connsiteX29" fmla="*/ 3353970 w 3353970"/>
                  <a:gd name="connsiteY29" fmla="*/ 331875 h 4068206"/>
                  <a:gd name="connsiteX30" fmla="*/ 3353970 w 3353970"/>
                  <a:gd name="connsiteY30" fmla="*/ 3736331 h 4068206"/>
                  <a:gd name="connsiteX31" fmla="*/ 3022095 w 3353970"/>
                  <a:gd name="connsiteY31" fmla="*/ 4068206 h 4068206"/>
                  <a:gd name="connsiteX32" fmla="*/ 331875 w 3353970"/>
                  <a:gd name="connsiteY32" fmla="*/ 4068206 h 4068206"/>
                  <a:gd name="connsiteX33" fmla="*/ 0 w 3353970"/>
                  <a:gd name="connsiteY33" fmla="*/ 3736331 h 4068206"/>
                  <a:gd name="connsiteX34" fmla="*/ 0 w 3353970"/>
                  <a:gd name="connsiteY34" fmla="*/ 1047346 h 4068206"/>
                  <a:gd name="connsiteX35" fmla="*/ 1047345 w 3353970"/>
                  <a:gd name="connsiteY35" fmla="*/ 1 h 4068206"/>
                  <a:gd name="connsiteX36" fmla="*/ 3022095 w 3353970"/>
                  <a:gd name="connsiteY36" fmla="*/ 0 h 4068206"/>
                  <a:gd name="connsiteX0" fmla="*/ 654838 w 3353970"/>
                  <a:gd name="connsiteY0" fmla="*/ 2420972 h 4068206"/>
                  <a:gd name="connsiteX1" fmla="*/ 2699133 w 3353970"/>
                  <a:gd name="connsiteY1" fmla="*/ 2420972 h 4068206"/>
                  <a:gd name="connsiteX2" fmla="*/ 654838 w 3353970"/>
                  <a:gd name="connsiteY2" fmla="*/ 2420972 h 4068206"/>
                  <a:gd name="connsiteX3" fmla="*/ 798094 w 3353970"/>
                  <a:gd name="connsiteY3" fmla="*/ 1693718 h 4068206"/>
                  <a:gd name="connsiteX4" fmla="*/ 2555877 w 3353970"/>
                  <a:gd name="connsiteY4" fmla="*/ 1693718 h 4068206"/>
                  <a:gd name="connsiteX5" fmla="*/ 2555877 w 3353970"/>
                  <a:gd name="connsiteY5" fmla="*/ 1980230 h 4068206"/>
                  <a:gd name="connsiteX6" fmla="*/ 798094 w 3353970"/>
                  <a:gd name="connsiteY6" fmla="*/ 1980230 h 4068206"/>
                  <a:gd name="connsiteX7" fmla="*/ 654838 w 3353970"/>
                  <a:gd name="connsiteY7" fmla="*/ 1836974 h 4068206"/>
                  <a:gd name="connsiteX8" fmla="*/ 798094 w 3353970"/>
                  <a:gd name="connsiteY8" fmla="*/ 1693718 h 4068206"/>
                  <a:gd name="connsiteX9" fmla="*/ 1530134 w 3353970"/>
                  <a:gd name="connsiteY9" fmla="*/ 1144192 h 4068206"/>
                  <a:gd name="connsiteX10" fmla="*/ 2555877 w 3353970"/>
                  <a:gd name="connsiteY10" fmla="*/ 1144192 h 4068206"/>
                  <a:gd name="connsiteX11" fmla="*/ 2699133 w 3353970"/>
                  <a:gd name="connsiteY11" fmla="*/ 1287448 h 4068206"/>
                  <a:gd name="connsiteX12" fmla="*/ 2555877 w 3353970"/>
                  <a:gd name="connsiteY12" fmla="*/ 1430704 h 4068206"/>
                  <a:gd name="connsiteX13" fmla="*/ 1530134 w 3353970"/>
                  <a:gd name="connsiteY13" fmla="*/ 1430704 h 4068206"/>
                  <a:gd name="connsiteX14" fmla="*/ 1386878 w 3353970"/>
                  <a:gd name="connsiteY14" fmla="*/ 1287448 h 4068206"/>
                  <a:gd name="connsiteX15" fmla="*/ 1530134 w 3353970"/>
                  <a:gd name="connsiteY15" fmla="*/ 1144192 h 4068206"/>
                  <a:gd name="connsiteX16" fmla="*/ 2943154 w 3353970"/>
                  <a:gd name="connsiteY16" fmla="*/ 244615 h 4068206"/>
                  <a:gd name="connsiteX17" fmla="*/ 1232526 w 3353970"/>
                  <a:gd name="connsiteY17" fmla="*/ 244616 h 4068206"/>
                  <a:gd name="connsiteX18" fmla="*/ 1232526 w 3353970"/>
                  <a:gd name="connsiteY18" fmla="*/ 856139 h 4068206"/>
                  <a:gd name="connsiteX19" fmla="*/ 915088 w 3353970"/>
                  <a:gd name="connsiteY19" fmla="*/ 1173577 h 4068206"/>
                  <a:gd name="connsiteX20" fmla="*/ 271532 w 3353970"/>
                  <a:gd name="connsiteY20" fmla="*/ 1173577 h 4068206"/>
                  <a:gd name="connsiteX21" fmla="*/ 271532 w 3353970"/>
                  <a:gd name="connsiteY21" fmla="*/ 3630672 h 4068206"/>
                  <a:gd name="connsiteX22" fmla="*/ 442122 w 3353970"/>
                  <a:gd name="connsiteY22" fmla="*/ 3801262 h 4068206"/>
                  <a:gd name="connsiteX23" fmla="*/ 2943154 w 3353970"/>
                  <a:gd name="connsiteY23" fmla="*/ 3801262 h 4068206"/>
                  <a:gd name="connsiteX24" fmla="*/ 3113744 w 3353970"/>
                  <a:gd name="connsiteY24" fmla="*/ 3630672 h 4068206"/>
                  <a:gd name="connsiteX25" fmla="*/ 3113744 w 3353970"/>
                  <a:gd name="connsiteY25" fmla="*/ 415205 h 4068206"/>
                  <a:gd name="connsiteX26" fmla="*/ 2943154 w 3353970"/>
                  <a:gd name="connsiteY26" fmla="*/ 244615 h 4068206"/>
                  <a:gd name="connsiteX27" fmla="*/ 3022095 w 3353970"/>
                  <a:gd name="connsiteY27" fmla="*/ 0 h 4068206"/>
                  <a:gd name="connsiteX28" fmla="*/ 3353970 w 3353970"/>
                  <a:gd name="connsiteY28" fmla="*/ 331875 h 4068206"/>
                  <a:gd name="connsiteX29" fmla="*/ 3353970 w 3353970"/>
                  <a:gd name="connsiteY29" fmla="*/ 3736331 h 4068206"/>
                  <a:gd name="connsiteX30" fmla="*/ 3022095 w 3353970"/>
                  <a:gd name="connsiteY30" fmla="*/ 4068206 h 4068206"/>
                  <a:gd name="connsiteX31" fmla="*/ 331875 w 3353970"/>
                  <a:gd name="connsiteY31" fmla="*/ 4068206 h 4068206"/>
                  <a:gd name="connsiteX32" fmla="*/ 0 w 3353970"/>
                  <a:gd name="connsiteY32" fmla="*/ 3736331 h 4068206"/>
                  <a:gd name="connsiteX33" fmla="*/ 0 w 3353970"/>
                  <a:gd name="connsiteY33" fmla="*/ 1047346 h 4068206"/>
                  <a:gd name="connsiteX34" fmla="*/ 1047345 w 3353970"/>
                  <a:gd name="connsiteY34" fmla="*/ 1 h 4068206"/>
                  <a:gd name="connsiteX35" fmla="*/ 3022095 w 3353970"/>
                  <a:gd name="connsiteY35" fmla="*/ 0 h 4068206"/>
                  <a:gd name="connsiteX0" fmla="*/ 654838 w 3353970"/>
                  <a:gd name="connsiteY0" fmla="*/ 2420972 h 4068206"/>
                  <a:gd name="connsiteX1" fmla="*/ 2699133 w 3353970"/>
                  <a:gd name="connsiteY1" fmla="*/ 2420972 h 4068206"/>
                  <a:gd name="connsiteX2" fmla="*/ 654838 w 3353970"/>
                  <a:gd name="connsiteY2" fmla="*/ 2420972 h 4068206"/>
                  <a:gd name="connsiteX3" fmla="*/ 798094 w 3353970"/>
                  <a:gd name="connsiteY3" fmla="*/ 1693718 h 4068206"/>
                  <a:gd name="connsiteX4" fmla="*/ 2555877 w 3353970"/>
                  <a:gd name="connsiteY4" fmla="*/ 1693718 h 4068206"/>
                  <a:gd name="connsiteX5" fmla="*/ 798094 w 3353970"/>
                  <a:gd name="connsiteY5" fmla="*/ 1980230 h 4068206"/>
                  <a:gd name="connsiteX6" fmla="*/ 654838 w 3353970"/>
                  <a:gd name="connsiteY6" fmla="*/ 1836974 h 4068206"/>
                  <a:gd name="connsiteX7" fmla="*/ 798094 w 3353970"/>
                  <a:gd name="connsiteY7" fmla="*/ 1693718 h 4068206"/>
                  <a:gd name="connsiteX8" fmla="*/ 1530134 w 3353970"/>
                  <a:gd name="connsiteY8" fmla="*/ 1144192 h 4068206"/>
                  <a:gd name="connsiteX9" fmla="*/ 2555877 w 3353970"/>
                  <a:gd name="connsiteY9" fmla="*/ 1144192 h 4068206"/>
                  <a:gd name="connsiteX10" fmla="*/ 2699133 w 3353970"/>
                  <a:gd name="connsiteY10" fmla="*/ 1287448 h 4068206"/>
                  <a:gd name="connsiteX11" fmla="*/ 2555877 w 3353970"/>
                  <a:gd name="connsiteY11" fmla="*/ 1430704 h 4068206"/>
                  <a:gd name="connsiteX12" fmla="*/ 1530134 w 3353970"/>
                  <a:gd name="connsiteY12" fmla="*/ 1430704 h 4068206"/>
                  <a:gd name="connsiteX13" fmla="*/ 1386878 w 3353970"/>
                  <a:gd name="connsiteY13" fmla="*/ 1287448 h 4068206"/>
                  <a:gd name="connsiteX14" fmla="*/ 1530134 w 3353970"/>
                  <a:gd name="connsiteY14" fmla="*/ 1144192 h 4068206"/>
                  <a:gd name="connsiteX15" fmla="*/ 2943154 w 3353970"/>
                  <a:gd name="connsiteY15" fmla="*/ 244615 h 4068206"/>
                  <a:gd name="connsiteX16" fmla="*/ 1232526 w 3353970"/>
                  <a:gd name="connsiteY16" fmla="*/ 244616 h 4068206"/>
                  <a:gd name="connsiteX17" fmla="*/ 1232526 w 3353970"/>
                  <a:gd name="connsiteY17" fmla="*/ 856139 h 4068206"/>
                  <a:gd name="connsiteX18" fmla="*/ 915088 w 3353970"/>
                  <a:gd name="connsiteY18" fmla="*/ 1173577 h 4068206"/>
                  <a:gd name="connsiteX19" fmla="*/ 271532 w 3353970"/>
                  <a:gd name="connsiteY19" fmla="*/ 1173577 h 4068206"/>
                  <a:gd name="connsiteX20" fmla="*/ 271532 w 3353970"/>
                  <a:gd name="connsiteY20" fmla="*/ 3630672 h 4068206"/>
                  <a:gd name="connsiteX21" fmla="*/ 442122 w 3353970"/>
                  <a:gd name="connsiteY21" fmla="*/ 3801262 h 4068206"/>
                  <a:gd name="connsiteX22" fmla="*/ 2943154 w 3353970"/>
                  <a:gd name="connsiteY22" fmla="*/ 3801262 h 4068206"/>
                  <a:gd name="connsiteX23" fmla="*/ 3113744 w 3353970"/>
                  <a:gd name="connsiteY23" fmla="*/ 3630672 h 4068206"/>
                  <a:gd name="connsiteX24" fmla="*/ 3113744 w 3353970"/>
                  <a:gd name="connsiteY24" fmla="*/ 415205 h 4068206"/>
                  <a:gd name="connsiteX25" fmla="*/ 2943154 w 3353970"/>
                  <a:gd name="connsiteY25" fmla="*/ 244615 h 4068206"/>
                  <a:gd name="connsiteX26" fmla="*/ 3022095 w 3353970"/>
                  <a:gd name="connsiteY26" fmla="*/ 0 h 4068206"/>
                  <a:gd name="connsiteX27" fmla="*/ 3353970 w 3353970"/>
                  <a:gd name="connsiteY27" fmla="*/ 331875 h 4068206"/>
                  <a:gd name="connsiteX28" fmla="*/ 3353970 w 3353970"/>
                  <a:gd name="connsiteY28" fmla="*/ 3736331 h 4068206"/>
                  <a:gd name="connsiteX29" fmla="*/ 3022095 w 3353970"/>
                  <a:gd name="connsiteY29" fmla="*/ 4068206 h 4068206"/>
                  <a:gd name="connsiteX30" fmla="*/ 331875 w 3353970"/>
                  <a:gd name="connsiteY30" fmla="*/ 4068206 h 4068206"/>
                  <a:gd name="connsiteX31" fmla="*/ 0 w 3353970"/>
                  <a:gd name="connsiteY31" fmla="*/ 3736331 h 4068206"/>
                  <a:gd name="connsiteX32" fmla="*/ 0 w 3353970"/>
                  <a:gd name="connsiteY32" fmla="*/ 1047346 h 4068206"/>
                  <a:gd name="connsiteX33" fmla="*/ 1047345 w 3353970"/>
                  <a:gd name="connsiteY33" fmla="*/ 1 h 4068206"/>
                  <a:gd name="connsiteX34" fmla="*/ 3022095 w 3353970"/>
                  <a:gd name="connsiteY34" fmla="*/ 0 h 4068206"/>
                  <a:gd name="connsiteX0" fmla="*/ 654838 w 3353970"/>
                  <a:gd name="connsiteY0" fmla="*/ 2420972 h 4068206"/>
                  <a:gd name="connsiteX1" fmla="*/ 2699133 w 3353970"/>
                  <a:gd name="connsiteY1" fmla="*/ 2420972 h 4068206"/>
                  <a:gd name="connsiteX2" fmla="*/ 654838 w 3353970"/>
                  <a:gd name="connsiteY2" fmla="*/ 2420972 h 4068206"/>
                  <a:gd name="connsiteX3" fmla="*/ 798094 w 3353970"/>
                  <a:gd name="connsiteY3" fmla="*/ 1693718 h 4068206"/>
                  <a:gd name="connsiteX4" fmla="*/ 2555877 w 3353970"/>
                  <a:gd name="connsiteY4" fmla="*/ 1693718 h 4068206"/>
                  <a:gd name="connsiteX5" fmla="*/ 798094 w 3353970"/>
                  <a:gd name="connsiteY5" fmla="*/ 1980230 h 4068206"/>
                  <a:gd name="connsiteX6" fmla="*/ 654838 w 3353970"/>
                  <a:gd name="connsiteY6" fmla="*/ 1836974 h 4068206"/>
                  <a:gd name="connsiteX7" fmla="*/ 798094 w 3353970"/>
                  <a:gd name="connsiteY7" fmla="*/ 1693718 h 4068206"/>
                  <a:gd name="connsiteX8" fmla="*/ 1530134 w 3353970"/>
                  <a:gd name="connsiteY8" fmla="*/ 1144192 h 4068206"/>
                  <a:gd name="connsiteX9" fmla="*/ 2555877 w 3353970"/>
                  <a:gd name="connsiteY9" fmla="*/ 1144192 h 4068206"/>
                  <a:gd name="connsiteX10" fmla="*/ 2699133 w 3353970"/>
                  <a:gd name="connsiteY10" fmla="*/ 1287448 h 4068206"/>
                  <a:gd name="connsiteX11" fmla="*/ 1530134 w 3353970"/>
                  <a:gd name="connsiteY11" fmla="*/ 1430704 h 4068206"/>
                  <a:gd name="connsiteX12" fmla="*/ 1386878 w 3353970"/>
                  <a:gd name="connsiteY12" fmla="*/ 1287448 h 4068206"/>
                  <a:gd name="connsiteX13" fmla="*/ 1530134 w 3353970"/>
                  <a:gd name="connsiteY13" fmla="*/ 1144192 h 4068206"/>
                  <a:gd name="connsiteX14" fmla="*/ 2943154 w 3353970"/>
                  <a:gd name="connsiteY14" fmla="*/ 244615 h 4068206"/>
                  <a:gd name="connsiteX15" fmla="*/ 1232526 w 3353970"/>
                  <a:gd name="connsiteY15" fmla="*/ 244616 h 4068206"/>
                  <a:gd name="connsiteX16" fmla="*/ 1232526 w 3353970"/>
                  <a:gd name="connsiteY16" fmla="*/ 856139 h 4068206"/>
                  <a:gd name="connsiteX17" fmla="*/ 915088 w 3353970"/>
                  <a:gd name="connsiteY17" fmla="*/ 1173577 h 4068206"/>
                  <a:gd name="connsiteX18" fmla="*/ 271532 w 3353970"/>
                  <a:gd name="connsiteY18" fmla="*/ 1173577 h 4068206"/>
                  <a:gd name="connsiteX19" fmla="*/ 271532 w 3353970"/>
                  <a:gd name="connsiteY19" fmla="*/ 3630672 h 4068206"/>
                  <a:gd name="connsiteX20" fmla="*/ 442122 w 3353970"/>
                  <a:gd name="connsiteY20" fmla="*/ 3801262 h 4068206"/>
                  <a:gd name="connsiteX21" fmla="*/ 2943154 w 3353970"/>
                  <a:gd name="connsiteY21" fmla="*/ 3801262 h 4068206"/>
                  <a:gd name="connsiteX22" fmla="*/ 3113744 w 3353970"/>
                  <a:gd name="connsiteY22" fmla="*/ 3630672 h 4068206"/>
                  <a:gd name="connsiteX23" fmla="*/ 3113744 w 3353970"/>
                  <a:gd name="connsiteY23" fmla="*/ 415205 h 4068206"/>
                  <a:gd name="connsiteX24" fmla="*/ 2943154 w 3353970"/>
                  <a:gd name="connsiteY24" fmla="*/ 244615 h 4068206"/>
                  <a:gd name="connsiteX25" fmla="*/ 3022095 w 3353970"/>
                  <a:gd name="connsiteY25" fmla="*/ 0 h 4068206"/>
                  <a:gd name="connsiteX26" fmla="*/ 3353970 w 3353970"/>
                  <a:gd name="connsiteY26" fmla="*/ 331875 h 4068206"/>
                  <a:gd name="connsiteX27" fmla="*/ 3353970 w 3353970"/>
                  <a:gd name="connsiteY27" fmla="*/ 3736331 h 4068206"/>
                  <a:gd name="connsiteX28" fmla="*/ 3022095 w 3353970"/>
                  <a:gd name="connsiteY28" fmla="*/ 4068206 h 4068206"/>
                  <a:gd name="connsiteX29" fmla="*/ 331875 w 3353970"/>
                  <a:gd name="connsiteY29" fmla="*/ 4068206 h 4068206"/>
                  <a:gd name="connsiteX30" fmla="*/ 0 w 3353970"/>
                  <a:gd name="connsiteY30" fmla="*/ 3736331 h 4068206"/>
                  <a:gd name="connsiteX31" fmla="*/ 0 w 3353970"/>
                  <a:gd name="connsiteY31" fmla="*/ 1047346 h 4068206"/>
                  <a:gd name="connsiteX32" fmla="*/ 1047345 w 3353970"/>
                  <a:gd name="connsiteY32" fmla="*/ 1 h 4068206"/>
                  <a:gd name="connsiteX33" fmla="*/ 3022095 w 3353970"/>
                  <a:gd name="connsiteY33" fmla="*/ 0 h 4068206"/>
                  <a:gd name="connsiteX0" fmla="*/ 654838 w 3353970"/>
                  <a:gd name="connsiteY0" fmla="*/ 2420972 h 4068206"/>
                  <a:gd name="connsiteX1" fmla="*/ 2699133 w 3353970"/>
                  <a:gd name="connsiteY1" fmla="*/ 2420972 h 4068206"/>
                  <a:gd name="connsiteX2" fmla="*/ 654838 w 3353970"/>
                  <a:gd name="connsiteY2" fmla="*/ 2420972 h 4068206"/>
                  <a:gd name="connsiteX3" fmla="*/ 798094 w 3353970"/>
                  <a:gd name="connsiteY3" fmla="*/ 1693718 h 4068206"/>
                  <a:gd name="connsiteX4" fmla="*/ 798094 w 3353970"/>
                  <a:gd name="connsiteY4" fmla="*/ 1980230 h 4068206"/>
                  <a:gd name="connsiteX5" fmla="*/ 654838 w 3353970"/>
                  <a:gd name="connsiteY5" fmla="*/ 1836974 h 4068206"/>
                  <a:gd name="connsiteX6" fmla="*/ 798094 w 3353970"/>
                  <a:gd name="connsiteY6" fmla="*/ 1693718 h 4068206"/>
                  <a:gd name="connsiteX7" fmla="*/ 1530134 w 3353970"/>
                  <a:gd name="connsiteY7" fmla="*/ 1144192 h 4068206"/>
                  <a:gd name="connsiteX8" fmla="*/ 2555877 w 3353970"/>
                  <a:gd name="connsiteY8" fmla="*/ 1144192 h 4068206"/>
                  <a:gd name="connsiteX9" fmla="*/ 2699133 w 3353970"/>
                  <a:gd name="connsiteY9" fmla="*/ 1287448 h 4068206"/>
                  <a:gd name="connsiteX10" fmla="*/ 1530134 w 3353970"/>
                  <a:gd name="connsiteY10" fmla="*/ 1430704 h 4068206"/>
                  <a:gd name="connsiteX11" fmla="*/ 1386878 w 3353970"/>
                  <a:gd name="connsiteY11" fmla="*/ 1287448 h 4068206"/>
                  <a:gd name="connsiteX12" fmla="*/ 1530134 w 3353970"/>
                  <a:gd name="connsiteY12" fmla="*/ 1144192 h 4068206"/>
                  <a:gd name="connsiteX13" fmla="*/ 2943154 w 3353970"/>
                  <a:gd name="connsiteY13" fmla="*/ 244615 h 4068206"/>
                  <a:gd name="connsiteX14" fmla="*/ 1232526 w 3353970"/>
                  <a:gd name="connsiteY14" fmla="*/ 244616 h 4068206"/>
                  <a:gd name="connsiteX15" fmla="*/ 1232526 w 3353970"/>
                  <a:gd name="connsiteY15" fmla="*/ 856139 h 4068206"/>
                  <a:gd name="connsiteX16" fmla="*/ 915088 w 3353970"/>
                  <a:gd name="connsiteY16" fmla="*/ 1173577 h 4068206"/>
                  <a:gd name="connsiteX17" fmla="*/ 271532 w 3353970"/>
                  <a:gd name="connsiteY17" fmla="*/ 1173577 h 4068206"/>
                  <a:gd name="connsiteX18" fmla="*/ 271532 w 3353970"/>
                  <a:gd name="connsiteY18" fmla="*/ 3630672 h 4068206"/>
                  <a:gd name="connsiteX19" fmla="*/ 442122 w 3353970"/>
                  <a:gd name="connsiteY19" fmla="*/ 3801262 h 4068206"/>
                  <a:gd name="connsiteX20" fmla="*/ 2943154 w 3353970"/>
                  <a:gd name="connsiteY20" fmla="*/ 3801262 h 4068206"/>
                  <a:gd name="connsiteX21" fmla="*/ 3113744 w 3353970"/>
                  <a:gd name="connsiteY21" fmla="*/ 3630672 h 4068206"/>
                  <a:gd name="connsiteX22" fmla="*/ 3113744 w 3353970"/>
                  <a:gd name="connsiteY22" fmla="*/ 415205 h 4068206"/>
                  <a:gd name="connsiteX23" fmla="*/ 2943154 w 3353970"/>
                  <a:gd name="connsiteY23" fmla="*/ 244615 h 4068206"/>
                  <a:gd name="connsiteX24" fmla="*/ 3022095 w 3353970"/>
                  <a:gd name="connsiteY24" fmla="*/ 0 h 4068206"/>
                  <a:gd name="connsiteX25" fmla="*/ 3353970 w 3353970"/>
                  <a:gd name="connsiteY25" fmla="*/ 331875 h 4068206"/>
                  <a:gd name="connsiteX26" fmla="*/ 3353970 w 3353970"/>
                  <a:gd name="connsiteY26" fmla="*/ 3736331 h 4068206"/>
                  <a:gd name="connsiteX27" fmla="*/ 3022095 w 3353970"/>
                  <a:gd name="connsiteY27" fmla="*/ 4068206 h 4068206"/>
                  <a:gd name="connsiteX28" fmla="*/ 331875 w 3353970"/>
                  <a:gd name="connsiteY28" fmla="*/ 4068206 h 4068206"/>
                  <a:gd name="connsiteX29" fmla="*/ 0 w 3353970"/>
                  <a:gd name="connsiteY29" fmla="*/ 3736331 h 4068206"/>
                  <a:gd name="connsiteX30" fmla="*/ 0 w 3353970"/>
                  <a:gd name="connsiteY30" fmla="*/ 1047346 h 4068206"/>
                  <a:gd name="connsiteX31" fmla="*/ 1047345 w 3353970"/>
                  <a:gd name="connsiteY31" fmla="*/ 1 h 4068206"/>
                  <a:gd name="connsiteX32" fmla="*/ 3022095 w 3353970"/>
                  <a:gd name="connsiteY32" fmla="*/ 0 h 4068206"/>
                  <a:gd name="connsiteX0" fmla="*/ 798094 w 3353970"/>
                  <a:gd name="connsiteY0" fmla="*/ 1693718 h 4068206"/>
                  <a:gd name="connsiteX1" fmla="*/ 798094 w 3353970"/>
                  <a:gd name="connsiteY1" fmla="*/ 1980230 h 4068206"/>
                  <a:gd name="connsiteX2" fmla="*/ 654838 w 3353970"/>
                  <a:gd name="connsiteY2" fmla="*/ 1836974 h 4068206"/>
                  <a:gd name="connsiteX3" fmla="*/ 798094 w 3353970"/>
                  <a:gd name="connsiteY3" fmla="*/ 1693718 h 4068206"/>
                  <a:gd name="connsiteX4" fmla="*/ 1530134 w 3353970"/>
                  <a:gd name="connsiteY4" fmla="*/ 1144192 h 4068206"/>
                  <a:gd name="connsiteX5" fmla="*/ 2555877 w 3353970"/>
                  <a:gd name="connsiteY5" fmla="*/ 1144192 h 4068206"/>
                  <a:gd name="connsiteX6" fmla="*/ 2699133 w 3353970"/>
                  <a:gd name="connsiteY6" fmla="*/ 1287448 h 4068206"/>
                  <a:gd name="connsiteX7" fmla="*/ 1530134 w 3353970"/>
                  <a:gd name="connsiteY7" fmla="*/ 1430704 h 4068206"/>
                  <a:gd name="connsiteX8" fmla="*/ 1386878 w 3353970"/>
                  <a:gd name="connsiteY8" fmla="*/ 1287448 h 4068206"/>
                  <a:gd name="connsiteX9" fmla="*/ 1530134 w 3353970"/>
                  <a:gd name="connsiteY9" fmla="*/ 1144192 h 4068206"/>
                  <a:gd name="connsiteX10" fmla="*/ 2943154 w 3353970"/>
                  <a:gd name="connsiteY10" fmla="*/ 244615 h 4068206"/>
                  <a:gd name="connsiteX11" fmla="*/ 1232526 w 3353970"/>
                  <a:gd name="connsiteY11" fmla="*/ 244616 h 4068206"/>
                  <a:gd name="connsiteX12" fmla="*/ 1232526 w 3353970"/>
                  <a:gd name="connsiteY12" fmla="*/ 856139 h 4068206"/>
                  <a:gd name="connsiteX13" fmla="*/ 915088 w 3353970"/>
                  <a:gd name="connsiteY13" fmla="*/ 1173577 h 4068206"/>
                  <a:gd name="connsiteX14" fmla="*/ 271532 w 3353970"/>
                  <a:gd name="connsiteY14" fmla="*/ 1173577 h 4068206"/>
                  <a:gd name="connsiteX15" fmla="*/ 271532 w 3353970"/>
                  <a:gd name="connsiteY15" fmla="*/ 3630672 h 4068206"/>
                  <a:gd name="connsiteX16" fmla="*/ 442122 w 3353970"/>
                  <a:gd name="connsiteY16" fmla="*/ 3801262 h 4068206"/>
                  <a:gd name="connsiteX17" fmla="*/ 2943154 w 3353970"/>
                  <a:gd name="connsiteY17" fmla="*/ 3801262 h 4068206"/>
                  <a:gd name="connsiteX18" fmla="*/ 3113744 w 3353970"/>
                  <a:gd name="connsiteY18" fmla="*/ 3630672 h 4068206"/>
                  <a:gd name="connsiteX19" fmla="*/ 3113744 w 3353970"/>
                  <a:gd name="connsiteY19" fmla="*/ 415205 h 4068206"/>
                  <a:gd name="connsiteX20" fmla="*/ 2943154 w 3353970"/>
                  <a:gd name="connsiteY20" fmla="*/ 244615 h 4068206"/>
                  <a:gd name="connsiteX21" fmla="*/ 3022095 w 3353970"/>
                  <a:gd name="connsiteY21" fmla="*/ 0 h 4068206"/>
                  <a:gd name="connsiteX22" fmla="*/ 3353970 w 3353970"/>
                  <a:gd name="connsiteY22" fmla="*/ 331875 h 4068206"/>
                  <a:gd name="connsiteX23" fmla="*/ 3353970 w 3353970"/>
                  <a:gd name="connsiteY23" fmla="*/ 3736331 h 4068206"/>
                  <a:gd name="connsiteX24" fmla="*/ 3022095 w 3353970"/>
                  <a:gd name="connsiteY24" fmla="*/ 4068206 h 4068206"/>
                  <a:gd name="connsiteX25" fmla="*/ 331875 w 3353970"/>
                  <a:gd name="connsiteY25" fmla="*/ 4068206 h 4068206"/>
                  <a:gd name="connsiteX26" fmla="*/ 0 w 3353970"/>
                  <a:gd name="connsiteY26" fmla="*/ 3736331 h 4068206"/>
                  <a:gd name="connsiteX27" fmla="*/ 0 w 3353970"/>
                  <a:gd name="connsiteY27" fmla="*/ 1047346 h 4068206"/>
                  <a:gd name="connsiteX28" fmla="*/ 1047345 w 3353970"/>
                  <a:gd name="connsiteY28" fmla="*/ 1 h 4068206"/>
                  <a:gd name="connsiteX29" fmla="*/ 3022095 w 3353970"/>
                  <a:gd name="connsiteY29" fmla="*/ 0 h 4068206"/>
                  <a:gd name="connsiteX0" fmla="*/ 654838 w 3353970"/>
                  <a:gd name="connsiteY0" fmla="*/ 1836974 h 4068206"/>
                  <a:gd name="connsiteX1" fmla="*/ 798094 w 3353970"/>
                  <a:gd name="connsiteY1" fmla="*/ 1980230 h 4068206"/>
                  <a:gd name="connsiteX2" fmla="*/ 654838 w 3353970"/>
                  <a:gd name="connsiteY2" fmla="*/ 1836974 h 4068206"/>
                  <a:gd name="connsiteX3" fmla="*/ 1530134 w 3353970"/>
                  <a:gd name="connsiteY3" fmla="*/ 1144192 h 4068206"/>
                  <a:gd name="connsiteX4" fmla="*/ 2555877 w 3353970"/>
                  <a:gd name="connsiteY4" fmla="*/ 1144192 h 4068206"/>
                  <a:gd name="connsiteX5" fmla="*/ 2699133 w 3353970"/>
                  <a:gd name="connsiteY5" fmla="*/ 1287448 h 4068206"/>
                  <a:gd name="connsiteX6" fmla="*/ 1530134 w 3353970"/>
                  <a:gd name="connsiteY6" fmla="*/ 1430704 h 4068206"/>
                  <a:gd name="connsiteX7" fmla="*/ 1386878 w 3353970"/>
                  <a:gd name="connsiteY7" fmla="*/ 1287448 h 4068206"/>
                  <a:gd name="connsiteX8" fmla="*/ 1530134 w 3353970"/>
                  <a:gd name="connsiteY8" fmla="*/ 1144192 h 4068206"/>
                  <a:gd name="connsiteX9" fmla="*/ 2943154 w 3353970"/>
                  <a:gd name="connsiteY9" fmla="*/ 244615 h 4068206"/>
                  <a:gd name="connsiteX10" fmla="*/ 1232526 w 3353970"/>
                  <a:gd name="connsiteY10" fmla="*/ 244616 h 4068206"/>
                  <a:gd name="connsiteX11" fmla="*/ 1232526 w 3353970"/>
                  <a:gd name="connsiteY11" fmla="*/ 856139 h 4068206"/>
                  <a:gd name="connsiteX12" fmla="*/ 915088 w 3353970"/>
                  <a:gd name="connsiteY12" fmla="*/ 1173577 h 4068206"/>
                  <a:gd name="connsiteX13" fmla="*/ 271532 w 3353970"/>
                  <a:gd name="connsiteY13" fmla="*/ 1173577 h 4068206"/>
                  <a:gd name="connsiteX14" fmla="*/ 271532 w 3353970"/>
                  <a:gd name="connsiteY14" fmla="*/ 3630672 h 4068206"/>
                  <a:gd name="connsiteX15" fmla="*/ 442122 w 3353970"/>
                  <a:gd name="connsiteY15" fmla="*/ 3801262 h 4068206"/>
                  <a:gd name="connsiteX16" fmla="*/ 2943154 w 3353970"/>
                  <a:gd name="connsiteY16" fmla="*/ 3801262 h 4068206"/>
                  <a:gd name="connsiteX17" fmla="*/ 3113744 w 3353970"/>
                  <a:gd name="connsiteY17" fmla="*/ 3630672 h 4068206"/>
                  <a:gd name="connsiteX18" fmla="*/ 3113744 w 3353970"/>
                  <a:gd name="connsiteY18" fmla="*/ 415205 h 4068206"/>
                  <a:gd name="connsiteX19" fmla="*/ 2943154 w 3353970"/>
                  <a:gd name="connsiteY19" fmla="*/ 244615 h 4068206"/>
                  <a:gd name="connsiteX20" fmla="*/ 3022095 w 3353970"/>
                  <a:gd name="connsiteY20" fmla="*/ 0 h 4068206"/>
                  <a:gd name="connsiteX21" fmla="*/ 3353970 w 3353970"/>
                  <a:gd name="connsiteY21" fmla="*/ 331875 h 4068206"/>
                  <a:gd name="connsiteX22" fmla="*/ 3353970 w 3353970"/>
                  <a:gd name="connsiteY22" fmla="*/ 3736331 h 4068206"/>
                  <a:gd name="connsiteX23" fmla="*/ 3022095 w 3353970"/>
                  <a:gd name="connsiteY23" fmla="*/ 4068206 h 4068206"/>
                  <a:gd name="connsiteX24" fmla="*/ 331875 w 3353970"/>
                  <a:gd name="connsiteY24" fmla="*/ 4068206 h 4068206"/>
                  <a:gd name="connsiteX25" fmla="*/ 0 w 3353970"/>
                  <a:gd name="connsiteY25" fmla="*/ 3736331 h 4068206"/>
                  <a:gd name="connsiteX26" fmla="*/ 0 w 3353970"/>
                  <a:gd name="connsiteY26" fmla="*/ 1047346 h 4068206"/>
                  <a:gd name="connsiteX27" fmla="*/ 1047345 w 3353970"/>
                  <a:gd name="connsiteY27" fmla="*/ 1 h 4068206"/>
                  <a:gd name="connsiteX28" fmla="*/ 3022095 w 3353970"/>
                  <a:gd name="connsiteY28" fmla="*/ 0 h 4068206"/>
                  <a:gd name="connsiteX0" fmla="*/ 1530134 w 3353970"/>
                  <a:gd name="connsiteY0" fmla="*/ 1144192 h 4068206"/>
                  <a:gd name="connsiteX1" fmla="*/ 2555877 w 3353970"/>
                  <a:gd name="connsiteY1" fmla="*/ 1144192 h 4068206"/>
                  <a:gd name="connsiteX2" fmla="*/ 2699133 w 3353970"/>
                  <a:gd name="connsiteY2" fmla="*/ 1287448 h 4068206"/>
                  <a:gd name="connsiteX3" fmla="*/ 1530134 w 3353970"/>
                  <a:gd name="connsiteY3" fmla="*/ 1430704 h 4068206"/>
                  <a:gd name="connsiteX4" fmla="*/ 1386878 w 3353970"/>
                  <a:gd name="connsiteY4" fmla="*/ 1287448 h 4068206"/>
                  <a:gd name="connsiteX5" fmla="*/ 1530134 w 3353970"/>
                  <a:gd name="connsiteY5" fmla="*/ 1144192 h 4068206"/>
                  <a:gd name="connsiteX6" fmla="*/ 2943154 w 3353970"/>
                  <a:gd name="connsiteY6" fmla="*/ 244615 h 4068206"/>
                  <a:gd name="connsiteX7" fmla="*/ 1232526 w 3353970"/>
                  <a:gd name="connsiteY7" fmla="*/ 244616 h 4068206"/>
                  <a:gd name="connsiteX8" fmla="*/ 1232526 w 3353970"/>
                  <a:gd name="connsiteY8" fmla="*/ 856139 h 4068206"/>
                  <a:gd name="connsiteX9" fmla="*/ 915088 w 3353970"/>
                  <a:gd name="connsiteY9" fmla="*/ 1173577 h 4068206"/>
                  <a:gd name="connsiteX10" fmla="*/ 271532 w 3353970"/>
                  <a:gd name="connsiteY10" fmla="*/ 1173577 h 4068206"/>
                  <a:gd name="connsiteX11" fmla="*/ 271532 w 3353970"/>
                  <a:gd name="connsiteY11" fmla="*/ 3630672 h 4068206"/>
                  <a:gd name="connsiteX12" fmla="*/ 442122 w 3353970"/>
                  <a:gd name="connsiteY12" fmla="*/ 3801262 h 4068206"/>
                  <a:gd name="connsiteX13" fmla="*/ 2943154 w 3353970"/>
                  <a:gd name="connsiteY13" fmla="*/ 3801262 h 4068206"/>
                  <a:gd name="connsiteX14" fmla="*/ 3113744 w 3353970"/>
                  <a:gd name="connsiteY14" fmla="*/ 3630672 h 4068206"/>
                  <a:gd name="connsiteX15" fmla="*/ 3113744 w 3353970"/>
                  <a:gd name="connsiteY15" fmla="*/ 415205 h 4068206"/>
                  <a:gd name="connsiteX16" fmla="*/ 2943154 w 3353970"/>
                  <a:gd name="connsiteY16" fmla="*/ 244615 h 4068206"/>
                  <a:gd name="connsiteX17" fmla="*/ 3022095 w 3353970"/>
                  <a:gd name="connsiteY17" fmla="*/ 0 h 4068206"/>
                  <a:gd name="connsiteX18" fmla="*/ 3353970 w 3353970"/>
                  <a:gd name="connsiteY18" fmla="*/ 331875 h 4068206"/>
                  <a:gd name="connsiteX19" fmla="*/ 3353970 w 3353970"/>
                  <a:gd name="connsiteY19" fmla="*/ 3736331 h 4068206"/>
                  <a:gd name="connsiteX20" fmla="*/ 3022095 w 3353970"/>
                  <a:gd name="connsiteY20" fmla="*/ 4068206 h 4068206"/>
                  <a:gd name="connsiteX21" fmla="*/ 331875 w 3353970"/>
                  <a:gd name="connsiteY21" fmla="*/ 4068206 h 4068206"/>
                  <a:gd name="connsiteX22" fmla="*/ 0 w 3353970"/>
                  <a:gd name="connsiteY22" fmla="*/ 3736331 h 4068206"/>
                  <a:gd name="connsiteX23" fmla="*/ 0 w 3353970"/>
                  <a:gd name="connsiteY23" fmla="*/ 1047346 h 4068206"/>
                  <a:gd name="connsiteX24" fmla="*/ 1047345 w 3353970"/>
                  <a:gd name="connsiteY24" fmla="*/ 1 h 4068206"/>
                  <a:gd name="connsiteX25" fmla="*/ 3022095 w 3353970"/>
                  <a:gd name="connsiteY25" fmla="*/ 0 h 4068206"/>
                  <a:gd name="connsiteX0" fmla="*/ 1530134 w 3353970"/>
                  <a:gd name="connsiteY0" fmla="*/ 1144192 h 4068206"/>
                  <a:gd name="connsiteX1" fmla="*/ 2555877 w 3353970"/>
                  <a:gd name="connsiteY1" fmla="*/ 1144192 h 4068206"/>
                  <a:gd name="connsiteX2" fmla="*/ 2699133 w 3353970"/>
                  <a:gd name="connsiteY2" fmla="*/ 1287448 h 4068206"/>
                  <a:gd name="connsiteX3" fmla="*/ 1530134 w 3353970"/>
                  <a:gd name="connsiteY3" fmla="*/ 1430704 h 4068206"/>
                  <a:gd name="connsiteX4" fmla="*/ 1530134 w 3353970"/>
                  <a:gd name="connsiteY4" fmla="*/ 1144192 h 4068206"/>
                  <a:gd name="connsiteX5" fmla="*/ 2943154 w 3353970"/>
                  <a:gd name="connsiteY5" fmla="*/ 244615 h 4068206"/>
                  <a:gd name="connsiteX6" fmla="*/ 1232526 w 3353970"/>
                  <a:gd name="connsiteY6" fmla="*/ 244616 h 4068206"/>
                  <a:gd name="connsiteX7" fmla="*/ 1232526 w 3353970"/>
                  <a:gd name="connsiteY7" fmla="*/ 856139 h 4068206"/>
                  <a:gd name="connsiteX8" fmla="*/ 915088 w 3353970"/>
                  <a:gd name="connsiteY8" fmla="*/ 1173577 h 4068206"/>
                  <a:gd name="connsiteX9" fmla="*/ 271532 w 3353970"/>
                  <a:gd name="connsiteY9" fmla="*/ 1173577 h 4068206"/>
                  <a:gd name="connsiteX10" fmla="*/ 271532 w 3353970"/>
                  <a:gd name="connsiteY10" fmla="*/ 3630672 h 4068206"/>
                  <a:gd name="connsiteX11" fmla="*/ 442122 w 3353970"/>
                  <a:gd name="connsiteY11" fmla="*/ 3801262 h 4068206"/>
                  <a:gd name="connsiteX12" fmla="*/ 2943154 w 3353970"/>
                  <a:gd name="connsiteY12" fmla="*/ 3801262 h 4068206"/>
                  <a:gd name="connsiteX13" fmla="*/ 3113744 w 3353970"/>
                  <a:gd name="connsiteY13" fmla="*/ 3630672 h 4068206"/>
                  <a:gd name="connsiteX14" fmla="*/ 3113744 w 3353970"/>
                  <a:gd name="connsiteY14" fmla="*/ 415205 h 4068206"/>
                  <a:gd name="connsiteX15" fmla="*/ 2943154 w 3353970"/>
                  <a:gd name="connsiteY15" fmla="*/ 244615 h 4068206"/>
                  <a:gd name="connsiteX16" fmla="*/ 3022095 w 3353970"/>
                  <a:gd name="connsiteY16" fmla="*/ 0 h 4068206"/>
                  <a:gd name="connsiteX17" fmla="*/ 3353970 w 3353970"/>
                  <a:gd name="connsiteY17" fmla="*/ 331875 h 4068206"/>
                  <a:gd name="connsiteX18" fmla="*/ 3353970 w 3353970"/>
                  <a:gd name="connsiteY18" fmla="*/ 3736331 h 4068206"/>
                  <a:gd name="connsiteX19" fmla="*/ 3022095 w 3353970"/>
                  <a:gd name="connsiteY19" fmla="*/ 4068206 h 4068206"/>
                  <a:gd name="connsiteX20" fmla="*/ 331875 w 3353970"/>
                  <a:gd name="connsiteY20" fmla="*/ 4068206 h 4068206"/>
                  <a:gd name="connsiteX21" fmla="*/ 0 w 3353970"/>
                  <a:gd name="connsiteY21" fmla="*/ 3736331 h 4068206"/>
                  <a:gd name="connsiteX22" fmla="*/ 0 w 3353970"/>
                  <a:gd name="connsiteY22" fmla="*/ 1047346 h 4068206"/>
                  <a:gd name="connsiteX23" fmla="*/ 1047345 w 3353970"/>
                  <a:gd name="connsiteY23" fmla="*/ 1 h 4068206"/>
                  <a:gd name="connsiteX24" fmla="*/ 3022095 w 3353970"/>
                  <a:gd name="connsiteY24" fmla="*/ 0 h 4068206"/>
                  <a:gd name="connsiteX0" fmla="*/ 1530134 w 3353970"/>
                  <a:gd name="connsiteY0" fmla="*/ 1430704 h 4068206"/>
                  <a:gd name="connsiteX1" fmla="*/ 2555877 w 3353970"/>
                  <a:gd name="connsiteY1" fmla="*/ 1144192 h 4068206"/>
                  <a:gd name="connsiteX2" fmla="*/ 2699133 w 3353970"/>
                  <a:gd name="connsiteY2" fmla="*/ 1287448 h 4068206"/>
                  <a:gd name="connsiteX3" fmla="*/ 1530134 w 3353970"/>
                  <a:gd name="connsiteY3" fmla="*/ 1430704 h 4068206"/>
                  <a:gd name="connsiteX4" fmla="*/ 2943154 w 3353970"/>
                  <a:gd name="connsiteY4" fmla="*/ 244615 h 4068206"/>
                  <a:gd name="connsiteX5" fmla="*/ 1232526 w 3353970"/>
                  <a:gd name="connsiteY5" fmla="*/ 244616 h 4068206"/>
                  <a:gd name="connsiteX6" fmla="*/ 1232526 w 3353970"/>
                  <a:gd name="connsiteY6" fmla="*/ 856139 h 4068206"/>
                  <a:gd name="connsiteX7" fmla="*/ 915088 w 3353970"/>
                  <a:gd name="connsiteY7" fmla="*/ 1173577 h 4068206"/>
                  <a:gd name="connsiteX8" fmla="*/ 271532 w 3353970"/>
                  <a:gd name="connsiteY8" fmla="*/ 1173577 h 4068206"/>
                  <a:gd name="connsiteX9" fmla="*/ 271532 w 3353970"/>
                  <a:gd name="connsiteY9" fmla="*/ 3630672 h 4068206"/>
                  <a:gd name="connsiteX10" fmla="*/ 442122 w 3353970"/>
                  <a:gd name="connsiteY10" fmla="*/ 3801262 h 4068206"/>
                  <a:gd name="connsiteX11" fmla="*/ 2943154 w 3353970"/>
                  <a:gd name="connsiteY11" fmla="*/ 3801262 h 4068206"/>
                  <a:gd name="connsiteX12" fmla="*/ 3113744 w 3353970"/>
                  <a:gd name="connsiteY12" fmla="*/ 3630672 h 4068206"/>
                  <a:gd name="connsiteX13" fmla="*/ 3113744 w 3353970"/>
                  <a:gd name="connsiteY13" fmla="*/ 415205 h 4068206"/>
                  <a:gd name="connsiteX14" fmla="*/ 2943154 w 3353970"/>
                  <a:gd name="connsiteY14" fmla="*/ 244615 h 4068206"/>
                  <a:gd name="connsiteX15" fmla="*/ 3022095 w 3353970"/>
                  <a:gd name="connsiteY15" fmla="*/ 0 h 4068206"/>
                  <a:gd name="connsiteX16" fmla="*/ 3353970 w 3353970"/>
                  <a:gd name="connsiteY16" fmla="*/ 331875 h 4068206"/>
                  <a:gd name="connsiteX17" fmla="*/ 3353970 w 3353970"/>
                  <a:gd name="connsiteY17" fmla="*/ 3736331 h 4068206"/>
                  <a:gd name="connsiteX18" fmla="*/ 3022095 w 3353970"/>
                  <a:gd name="connsiteY18" fmla="*/ 4068206 h 4068206"/>
                  <a:gd name="connsiteX19" fmla="*/ 331875 w 3353970"/>
                  <a:gd name="connsiteY19" fmla="*/ 4068206 h 4068206"/>
                  <a:gd name="connsiteX20" fmla="*/ 0 w 3353970"/>
                  <a:gd name="connsiteY20" fmla="*/ 3736331 h 4068206"/>
                  <a:gd name="connsiteX21" fmla="*/ 0 w 3353970"/>
                  <a:gd name="connsiteY21" fmla="*/ 1047346 h 4068206"/>
                  <a:gd name="connsiteX22" fmla="*/ 1047345 w 3353970"/>
                  <a:gd name="connsiteY22" fmla="*/ 1 h 4068206"/>
                  <a:gd name="connsiteX23" fmla="*/ 3022095 w 3353970"/>
                  <a:gd name="connsiteY23" fmla="*/ 0 h 4068206"/>
                  <a:gd name="connsiteX0" fmla="*/ 2699133 w 3353970"/>
                  <a:gd name="connsiteY0" fmla="*/ 1287448 h 4068206"/>
                  <a:gd name="connsiteX1" fmla="*/ 2555877 w 3353970"/>
                  <a:gd name="connsiteY1" fmla="*/ 1144192 h 4068206"/>
                  <a:gd name="connsiteX2" fmla="*/ 2699133 w 3353970"/>
                  <a:gd name="connsiteY2" fmla="*/ 1287448 h 4068206"/>
                  <a:gd name="connsiteX3" fmla="*/ 2943154 w 3353970"/>
                  <a:gd name="connsiteY3" fmla="*/ 244615 h 4068206"/>
                  <a:gd name="connsiteX4" fmla="*/ 1232526 w 3353970"/>
                  <a:gd name="connsiteY4" fmla="*/ 244616 h 4068206"/>
                  <a:gd name="connsiteX5" fmla="*/ 1232526 w 3353970"/>
                  <a:gd name="connsiteY5" fmla="*/ 856139 h 4068206"/>
                  <a:gd name="connsiteX6" fmla="*/ 915088 w 3353970"/>
                  <a:gd name="connsiteY6" fmla="*/ 1173577 h 4068206"/>
                  <a:gd name="connsiteX7" fmla="*/ 271532 w 3353970"/>
                  <a:gd name="connsiteY7" fmla="*/ 1173577 h 4068206"/>
                  <a:gd name="connsiteX8" fmla="*/ 271532 w 3353970"/>
                  <a:gd name="connsiteY8" fmla="*/ 3630672 h 4068206"/>
                  <a:gd name="connsiteX9" fmla="*/ 442122 w 3353970"/>
                  <a:gd name="connsiteY9" fmla="*/ 3801262 h 4068206"/>
                  <a:gd name="connsiteX10" fmla="*/ 2943154 w 3353970"/>
                  <a:gd name="connsiteY10" fmla="*/ 3801262 h 4068206"/>
                  <a:gd name="connsiteX11" fmla="*/ 3113744 w 3353970"/>
                  <a:gd name="connsiteY11" fmla="*/ 3630672 h 4068206"/>
                  <a:gd name="connsiteX12" fmla="*/ 3113744 w 3353970"/>
                  <a:gd name="connsiteY12" fmla="*/ 415205 h 4068206"/>
                  <a:gd name="connsiteX13" fmla="*/ 2943154 w 3353970"/>
                  <a:gd name="connsiteY13" fmla="*/ 244615 h 4068206"/>
                  <a:gd name="connsiteX14" fmla="*/ 3022095 w 3353970"/>
                  <a:gd name="connsiteY14" fmla="*/ 0 h 4068206"/>
                  <a:gd name="connsiteX15" fmla="*/ 3353970 w 3353970"/>
                  <a:gd name="connsiteY15" fmla="*/ 331875 h 4068206"/>
                  <a:gd name="connsiteX16" fmla="*/ 3353970 w 3353970"/>
                  <a:gd name="connsiteY16" fmla="*/ 3736331 h 4068206"/>
                  <a:gd name="connsiteX17" fmla="*/ 3022095 w 3353970"/>
                  <a:gd name="connsiteY17" fmla="*/ 4068206 h 4068206"/>
                  <a:gd name="connsiteX18" fmla="*/ 331875 w 3353970"/>
                  <a:gd name="connsiteY18" fmla="*/ 4068206 h 4068206"/>
                  <a:gd name="connsiteX19" fmla="*/ 0 w 3353970"/>
                  <a:gd name="connsiteY19" fmla="*/ 3736331 h 4068206"/>
                  <a:gd name="connsiteX20" fmla="*/ 0 w 3353970"/>
                  <a:gd name="connsiteY20" fmla="*/ 1047346 h 4068206"/>
                  <a:gd name="connsiteX21" fmla="*/ 1047345 w 3353970"/>
                  <a:gd name="connsiteY21" fmla="*/ 1 h 4068206"/>
                  <a:gd name="connsiteX22" fmla="*/ 3022095 w 3353970"/>
                  <a:gd name="connsiteY22" fmla="*/ 0 h 4068206"/>
                  <a:gd name="connsiteX0" fmla="*/ 2943154 w 3353970"/>
                  <a:gd name="connsiteY0" fmla="*/ 244615 h 4068206"/>
                  <a:gd name="connsiteX1" fmla="*/ 1232526 w 3353970"/>
                  <a:gd name="connsiteY1" fmla="*/ 244616 h 4068206"/>
                  <a:gd name="connsiteX2" fmla="*/ 1232526 w 3353970"/>
                  <a:gd name="connsiteY2" fmla="*/ 856139 h 4068206"/>
                  <a:gd name="connsiteX3" fmla="*/ 915088 w 3353970"/>
                  <a:gd name="connsiteY3" fmla="*/ 1173577 h 4068206"/>
                  <a:gd name="connsiteX4" fmla="*/ 271532 w 3353970"/>
                  <a:gd name="connsiteY4" fmla="*/ 1173577 h 4068206"/>
                  <a:gd name="connsiteX5" fmla="*/ 271532 w 3353970"/>
                  <a:gd name="connsiteY5" fmla="*/ 3630672 h 4068206"/>
                  <a:gd name="connsiteX6" fmla="*/ 442122 w 3353970"/>
                  <a:gd name="connsiteY6" fmla="*/ 3801262 h 4068206"/>
                  <a:gd name="connsiteX7" fmla="*/ 2943154 w 3353970"/>
                  <a:gd name="connsiteY7" fmla="*/ 3801262 h 4068206"/>
                  <a:gd name="connsiteX8" fmla="*/ 3113744 w 3353970"/>
                  <a:gd name="connsiteY8" fmla="*/ 3630672 h 4068206"/>
                  <a:gd name="connsiteX9" fmla="*/ 3113744 w 3353970"/>
                  <a:gd name="connsiteY9" fmla="*/ 415205 h 4068206"/>
                  <a:gd name="connsiteX10" fmla="*/ 2943154 w 3353970"/>
                  <a:gd name="connsiteY10" fmla="*/ 244615 h 4068206"/>
                  <a:gd name="connsiteX11" fmla="*/ 3022095 w 3353970"/>
                  <a:gd name="connsiteY11" fmla="*/ 0 h 4068206"/>
                  <a:gd name="connsiteX12" fmla="*/ 3353970 w 3353970"/>
                  <a:gd name="connsiteY12" fmla="*/ 331875 h 4068206"/>
                  <a:gd name="connsiteX13" fmla="*/ 3353970 w 3353970"/>
                  <a:gd name="connsiteY13" fmla="*/ 3736331 h 4068206"/>
                  <a:gd name="connsiteX14" fmla="*/ 3022095 w 3353970"/>
                  <a:gd name="connsiteY14" fmla="*/ 4068206 h 4068206"/>
                  <a:gd name="connsiteX15" fmla="*/ 331875 w 3353970"/>
                  <a:gd name="connsiteY15" fmla="*/ 4068206 h 4068206"/>
                  <a:gd name="connsiteX16" fmla="*/ 0 w 3353970"/>
                  <a:gd name="connsiteY16" fmla="*/ 3736331 h 4068206"/>
                  <a:gd name="connsiteX17" fmla="*/ 0 w 3353970"/>
                  <a:gd name="connsiteY17" fmla="*/ 1047346 h 4068206"/>
                  <a:gd name="connsiteX18" fmla="*/ 1047345 w 3353970"/>
                  <a:gd name="connsiteY18" fmla="*/ 1 h 4068206"/>
                  <a:gd name="connsiteX19" fmla="*/ 3022095 w 3353970"/>
                  <a:gd name="connsiteY19" fmla="*/ 0 h 4068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353970" h="4068206">
                    <a:moveTo>
                      <a:pt x="2943154" y="244615"/>
                    </a:moveTo>
                    <a:lnTo>
                      <a:pt x="1232526" y="244616"/>
                    </a:lnTo>
                    <a:lnTo>
                      <a:pt x="1232526" y="856139"/>
                    </a:lnTo>
                    <a:cubicBezTo>
                      <a:pt x="1232526" y="1031455"/>
                      <a:pt x="1090404" y="1173577"/>
                      <a:pt x="915088" y="1173577"/>
                    </a:cubicBezTo>
                    <a:lnTo>
                      <a:pt x="271532" y="1173577"/>
                    </a:lnTo>
                    <a:lnTo>
                      <a:pt x="271532" y="3630672"/>
                    </a:lnTo>
                    <a:cubicBezTo>
                      <a:pt x="271532" y="3724886"/>
                      <a:pt x="347908" y="3801262"/>
                      <a:pt x="442122" y="3801262"/>
                    </a:cubicBezTo>
                    <a:lnTo>
                      <a:pt x="2943154" y="3801262"/>
                    </a:lnTo>
                    <a:cubicBezTo>
                      <a:pt x="3037368" y="3801262"/>
                      <a:pt x="3113744" y="3724886"/>
                      <a:pt x="3113744" y="3630672"/>
                    </a:cubicBezTo>
                    <a:lnTo>
                      <a:pt x="3113744" y="415205"/>
                    </a:lnTo>
                    <a:cubicBezTo>
                      <a:pt x="3113744" y="320991"/>
                      <a:pt x="3037368" y="244615"/>
                      <a:pt x="2943154" y="244615"/>
                    </a:cubicBezTo>
                    <a:close/>
                    <a:moveTo>
                      <a:pt x="3022095" y="0"/>
                    </a:moveTo>
                    <a:cubicBezTo>
                      <a:pt x="3205385" y="0"/>
                      <a:pt x="3353970" y="148585"/>
                      <a:pt x="3353970" y="331875"/>
                    </a:cubicBezTo>
                    <a:lnTo>
                      <a:pt x="3353970" y="3736331"/>
                    </a:lnTo>
                    <a:cubicBezTo>
                      <a:pt x="3353970" y="3919621"/>
                      <a:pt x="3205385" y="4068206"/>
                      <a:pt x="3022095" y="4068206"/>
                    </a:cubicBezTo>
                    <a:lnTo>
                      <a:pt x="331875" y="4068206"/>
                    </a:lnTo>
                    <a:cubicBezTo>
                      <a:pt x="148585" y="4068206"/>
                      <a:pt x="0" y="3919621"/>
                      <a:pt x="0" y="3736331"/>
                    </a:cubicBezTo>
                    <a:lnTo>
                      <a:pt x="0" y="1047346"/>
                    </a:lnTo>
                    <a:lnTo>
                      <a:pt x="1047345" y="1"/>
                    </a:lnTo>
                    <a:lnTo>
                      <a:pt x="3022095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dirty="0">
                  <a:solidFill>
                    <a:srgbClr val="A80000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Rectangle 40"/>
              <p:cNvSpPr/>
              <p:nvPr/>
            </p:nvSpPr>
            <p:spPr bwMode="auto">
              <a:xfrm>
                <a:off x="10519884" y="2636586"/>
                <a:ext cx="233922" cy="251021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400" b="1" kern="0" dirty="0">
                    <a:solidFill>
                      <a:prstClr val="white"/>
                    </a:solidFill>
                    <a:latin typeface="Segoe UI Black" panose="020B0A02040204020203" pitchFamily="34" charset="0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{</a:t>
                </a:r>
                <a:r>
                  <a:rPr lang="en-US" sz="2400" b="1" kern="0" spc="-300" dirty="0">
                    <a:solidFill>
                      <a:prstClr val="white"/>
                    </a:solidFill>
                    <a:latin typeface="Segoe UI Black" panose="020B0A02040204020203" pitchFamily="34" charset="0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 </a:t>
                </a:r>
                <a:r>
                  <a:rPr lang="en-US" sz="2400" b="1" kern="0" dirty="0">
                    <a:solidFill>
                      <a:prstClr val="white"/>
                    </a:solidFill>
                    <a:latin typeface="Segoe UI Black" panose="020B0A02040204020203" pitchFamily="34" charset="0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}</a:t>
                </a:r>
              </a:p>
            </p:txBody>
          </p:sp>
        </p:grpSp>
      </p:grpSp>
      <p:grpSp>
        <p:nvGrpSpPr>
          <p:cNvPr id="46" name="Group 45"/>
          <p:cNvGrpSpPr/>
          <p:nvPr/>
        </p:nvGrpSpPr>
        <p:grpSpPr>
          <a:xfrm>
            <a:off x="9192527" y="4685247"/>
            <a:ext cx="951152" cy="1017878"/>
            <a:chOff x="10376763" y="1388874"/>
            <a:chExt cx="743900" cy="796087"/>
          </a:xfrm>
        </p:grpSpPr>
        <p:sp>
          <p:nvSpPr>
            <p:cNvPr id="47" name="Freeform 106"/>
            <p:cNvSpPr>
              <a:spLocks noChangeAspect="1"/>
            </p:cNvSpPr>
            <p:nvPr/>
          </p:nvSpPr>
          <p:spPr bwMode="auto">
            <a:xfrm>
              <a:off x="10574879" y="1388874"/>
              <a:ext cx="545784" cy="345650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12 h 545593"/>
                <a:gd name="connsiteX1" fmla="*/ 755129 w 878349"/>
                <a:gd name="connsiteY1" fmla="*/ 264634 h 545593"/>
                <a:gd name="connsiteX2" fmla="*/ 753041 w 878349"/>
                <a:gd name="connsiteY2" fmla="*/ 285343 h 545593"/>
                <a:gd name="connsiteX3" fmla="*/ 798544 w 878349"/>
                <a:gd name="connsiteY3" fmla="*/ 294530 h 545593"/>
                <a:gd name="connsiteX4" fmla="*/ 878349 w 878349"/>
                <a:gd name="connsiteY4" fmla="*/ 414927 h 545593"/>
                <a:gd name="connsiteX5" fmla="*/ 798544 w 878349"/>
                <a:gd name="connsiteY5" fmla="*/ 535325 h 545593"/>
                <a:gd name="connsiteX6" fmla="*/ 759827 w 878349"/>
                <a:gd name="connsiteY6" fmla="*/ 543141 h 545593"/>
                <a:gd name="connsiteX7" fmla="*/ 753908 w 878349"/>
                <a:gd name="connsiteY7" fmla="*/ 545593 h 545593"/>
                <a:gd name="connsiteX8" fmla="*/ 747683 w 878349"/>
                <a:gd name="connsiteY8" fmla="*/ 545593 h 545593"/>
                <a:gd name="connsiteX9" fmla="*/ 190471 w 878349"/>
                <a:gd name="connsiteY9" fmla="*/ 545593 h 545593"/>
                <a:gd name="connsiteX10" fmla="*/ 166602 w 878349"/>
                <a:gd name="connsiteY10" fmla="*/ 545593 h 545593"/>
                <a:gd name="connsiteX11" fmla="*/ 158924 w 878349"/>
                <a:gd name="connsiteY11" fmla="*/ 542413 h 545593"/>
                <a:gd name="connsiteX12" fmla="*/ 152084 w 878349"/>
                <a:gd name="connsiteY12" fmla="*/ 541724 h 545593"/>
                <a:gd name="connsiteX13" fmla="*/ 0 w 878349"/>
                <a:gd name="connsiteY13" fmla="*/ 355122 h 545593"/>
                <a:gd name="connsiteX14" fmla="*/ 190471 w 878349"/>
                <a:gd name="connsiteY14" fmla="*/ 164651 h 545593"/>
                <a:gd name="connsiteX15" fmla="*/ 228858 w 878349"/>
                <a:gd name="connsiteY15" fmla="*/ 168521 h 545593"/>
                <a:gd name="connsiteX16" fmla="*/ 244320 w 878349"/>
                <a:gd name="connsiteY16" fmla="*/ 173321 h 545593"/>
                <a:gd name="connsiteX17" fmla="*/ 490507 w 878349"/>
                <a:gd name="connsiteY17" fmla="*/ 12 h 545593"/>
                <a:gd name="connsiteX0" fmla="*/ 490507 w 878349"/>
                <a:gd name="connsiteY0" fmla="*/ 13 h 545594"/>
                <a:gd name="connsiteX1" fmla="*/ 755129 w 878349"/>
                <a:gd name="connsiteY1" fmla="*/ 264635 h 545594"/>
                <a:gd name="connsiteX2" fmla="*/ 753041 w 878349"/>
                <a:gd name="connsiteY2" fmla="*/ 285344 h 545594"/>
                <a:gd name="connsiteX3" fmla="*/ 798544 w 878349"/>
                <a:gd name="connsiteY3" fmla="*/ 294531 h 545594"/>
                <a:gd name="connsiteX4" fmla="*/ 878349 w 878349"/>
                <a:gd name="connsiteY4" fmla="*/ 414928 h 545594"/>
                <a:gd name="connsiteX5" fmla="*/ 798544 w 878349"/>
                <a:gd name="connsiteY5" fmla="*/ 535326 h 545594"/>
                <a:gd name="connsiteX6" fmla="*/ 759827 w 878349"/>
                <a:gd name="connsiteY6" fmla="*/ 543142 h 545594"/>
                <a:gd name="connsiteX7" fmla="*/ 753908 w 878349"/>
                <a:gd name="connsiteY7" fmla="*/ 545594 h 545594"/>
                <a:gd name="connsiteX8" fmla="*/ 747683 w 878349"/>
                <a:gd name="connsiteY8" fmla="*/ 545594 h 545594"/>
                <a:gd name="connsiteX9" fmla="*/ 190471 w 878349"/>
                <a:gd name="connsiteY9" fmla="*/ 545594 h 545594"/>
                <a:gd name="connsiteX10" fmla="*/ 166602 w 878349"/>
                <a:gd name="connsiteY10" fmla="*/ 545594 h 545594"/>
                <a:gd name="connsiteX11" fmla="*/ 158924 w 878349"/>
                <a:gd name="connsiteY11" fmla="*/ 542414 h 545594"/>
                <a:gd name="connsiteX12" fmla="*/ 152084 w 878349"/>
                <a:gd name="connsiteY12" fmla="*/ 541725 h 545594"/>
                <a:gd name="connsiteX13" fmla="*/ 0 w 878349"/>
                <a:gd name="connsiteY13" fmla="*/ 355123 h 545594"/>
                <a:gd name="connsiteX14" fmla="*/ 190471 w 878349"/>
                <a:gd name="connsiteY14" fmla="*/ 164652 h 545594"/>
                <a:gd name="connsiteX15" fmla="*/ 228858 w 878349"/>
                <a:gd name="connsiteY15" fmla="*/ 168522 h 545594"/>
                <a:gd name="connsiteX16" fmla="*/ 244320 w 878349"/>
                <a:gd name="connsiteY16" fmla="*/ 173322 h 545594"/>
                <a:gd name="connsiteX17" fmla="*/ 490507 w 878349"/>
                <a:gd name="connsiteY17" fmla="*/ 13 h 545594"/>
                <a:gd name="connsiteX0" fmla="*/ 490507 w 878349"/>
                <a:gd name="connsiteY0" fmla="*/ 471 h 546052"/>
                <a:gd name="connsiteX1" fmla="*/ 755129 w 878349"/>
                <a:gd name="connsiteY1" fmla="*/ 265093 h 546052"/>
                <a:gd name="connsiteX2" fmla="*/ 753041 w 878349"/>
                <a:gd name="connsiteY2" fmla="*/ 285802 h 546052"/>
                <a:gd name="connsiteX3" fmla="*/ 798544 w 878349"/>
                <a:gd name="connsiteY3" fmla="*/ 294989 h 546052"/>
                <a:gd name="connsiteX4" fmla="*/ 878349 w 878349"/>
                <a:gd name="connsiteY4" fmla="*/ 415386 h 546052"/>
                <a:gd name="connsiteX5" fmla="*/ 798544 w 878349"/>
                <a:gd name="connsiteY5" fmla="*/ 535784 h 546052"/>
                <a:gd name="connsiteX6" fmla="*/ 759827 w 878349"/>
                <a:gd name="connsiteY6" fmla="*/ 543600 h 546052"/>
                <a:gd name="connsiteX7" fmla="*/ 753908 w 878349"/>
                <a:gd name="connsiteY7" fmla="*/ 546052 h 546052"/>
                <a:gd name="connsiteX8" fmla="*/ 747683 w 878349"/>
                <a:gd name="connsiteY8" fmla="*/ 546052 h 546052"/>
                <a:gd name="connsiteX9" fmla="*/ 190471 w 878349"/>
                <a:gd name="connsiteY9" fmla="*/ 546052 h 546052"/>
                <a:gd name="connsiteX10" fmla="*/ 166602 w 878349"/>
                <a:gd name="connsiteY10" fmla="*/ 546052 h 546052"/>
                <a:gd name="connsiteX11" fmla="*/ 158924 w 878349"/>
                <a:gd name="connsiteY11" fmla="*/ 542872 h 546052"/>
                <a:gd name="connsiteX12" fmla="*/ 152084 w 878349"/>
                <a:gd name="connsiteY12" fmla="*/ 542183 h 546052"/>
                <a:gd name="connsiteX13" fmla="*/ 0 w 878349"/>
                <a:gd name="connsiteY13" fmla="*/ 355581 h 546052"/>
                <a:gd name="connsiteX14" fmla="*/ 190471 w 878349"/>
                <a:gd name="connsiteY14" fmla="*/ 165110 h 546052"/>
                <a:gd name="connsiteX15" fmla="*/ 228858 w 878349"/>
                <a:gd name="connsiteY15" fmla="*/ 168980 h 546052"/>
                <a:gd name="connsiteX16" fmla="*/ 244320 w 878349"/>
                <a:gd name="connsiteY16" fmla="*/ 173780 h 546052"/>
                <a:gd name="connsiteX17" fmla="*/ 490507 w 878349"/>
                <a:gd name="connsiteY17" fmla="*/ 471 h 546052"/>
                <a:gd name="connsiteX0" fmla="*/ 490507 w 878349"/>
                <a:gd name="connsiteY0" fmla="*/ 2380 h 547961"/>
                <a:gd name="connsiteX1" fmla="*/ 753041 w 878349"/>
                <a:gd name="connsiteY1" fmla="*/ 287711 h 547961"/>
                <a:gd name="connsiteX2" fmla="*/ 798544 w 878349"/>
                <a:gd name="connsiteY2" fmla="*/ 296898 h 547961"/>
                <a:gd name="connsiteX3" fmla="*/ 878349 w 878349"/>
                <a:gd name="connsiteY3" fmla="*/ 417295 h 547961"/>
                <a:gd name="connsiteX4" fmla="*/ 798544 w 878349"/>
                <a:gd name="connsiteY4" fmla="*/ 537693 h 547961"/>
                <a:gd name="connsiteX5" fmla="*/ 759827 w 878349"/>
                <a:gd name="connsiteY5" fmla="*/ 545509 h 547961"/>
                <a:gd name="connsiteX6" fmla="*/ 753908 w 878349"/>
                <a:gd name="connsiteY6" fmla="*/ 547961 h 547961"/>
                <a:gd name="connsiteX7" fmla="*/ 747683 w 878349"/>
                <a:gd name="connsiteY7" fmla="*/ 547961 h 547961"/>
                <a:gd name="connsiteX8" fmla="*/ 190471 w 878349"/>
                <a:gd name="connsiteY8" fmla="*/ 547961 h 547961"/>
                <a:gd name="connsiteX9" fmla="*/ 166602 w 878349"/>
                <a:gd name="connsiteY9" fmla="*/ 547961 h 547961"/>
                <a:gd name="connsiteX10" fmla="*/ 158924 w 878349"/>
                <a:gd name="connsiteY10" fmla="*/ 544781 h 547961"/>
                <a:gd name="connsiteX11" fmla="*/ 152084 w 878349"/>
                <a:gd name="connsiteY11" fmla="*/ 544092 h 547961"/>
                <a:gd name="connsiteX12" fmla="*/ 0 w 878349"/>
                <a:gd name="connsiteY12" fmla="*/ 357490 h 547961"/>
                <a:gd name="connsiteX13" fmla="*/ 190471 w 878349"/>
                <a:gd name="connsiteY13" fmla="*/ 167019 h 547961"/>
                <a:gd name="connsiteX14" fmla="*/ 228858 w 878349"/>
                <a:gd name="connsiteY14" fmla="*/ 170889 h 547961"/>
                <a:gd name="connsiteX15" fmla="*/ 244320 w 878349"/>
                <a:gd name="connsiteY15" fmla="*/ 175689 h 547961"/>
                <a:gd name="connsiteX16" fmla="*/ 490507 w 878349"/>
                <a:gd name="connsiteY16" fmla="*/ 2380 h 54796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526204 w 878349"/>
                <a:gd name="connsiteY0" fmla="*/ 25 h 542852"/>
                <a:gd name="connsiteX1" fmla="*/ 753041 w 878349"/>
                <a:gd name="connsiteY1" fmla="*/ 282602 h 542852"/>
                <a:gd name="connsiteX2" fmla="*/ 798544 w 878349"/>
                <a:gd name="connsiteY2" fmla="*/ 291789 h 542852"/>
                <a:gd name="connsiteX3" fmla="*/ 878349 w 878349"/>
                <a:gd name="connsiteY3" fmla="*/ 412186 h 542852"/>
                <a:gd name="connsiteX4" fmla="*/ 798544 w 878349"/>
                <a:gd name="connsiteY4" fmla="*/ 532584 h 542852"/>
                <a:gd name="connsiteX5" fmla="*/ 759827 w 878349"/>
                <a:gd name="connsiteY5" fmla="*/ 540400 h 542852"/>
                <a:gd name="connsiteX6" fmla="*/ 753908 w 878349"/>
                <a:gd name="connsiteY6" fmla="*/ 542852 h 542852"/>
                <a:gd name="connsiteX7" fmla="*/ 747683 w 878349"/>
                <a:gd name="connsiteY7" fmla="*/ 542852 h 542852"/>
                <a:gd name="connsiteX8" fmla="*/ 190471 w 878349"/>
                <a:gd name="connsiteY8" fmla="*/ 542852 h 542852"/>
                <a:gd name="connsiteX9" fmla="*/ 166602 w 878349"/>
                <a:gd name="connsiteY9" fmla="*/ 542852 h 542852"/>
                <a:gd name="connsiteX10" fmla="*/ 158924 w 878349"/>
                <a:gd name="connsiteY10" fmla="*/ 539672 h 542852"/>
                <a:gd name="connsiteX11" fmla="*/ 152084 w 878349"/>
                <a:gd name="connsiteY11" fmla="*/ 538983 h 542852"/>
                <a:gd name="connsiteX12" fmla="*/ 0 w 878349"/>
                <a:gd name="connsiteY12" fmla="*/ 352381 h 542852"/>
                <a:gd name="connsiteX13" fmla="*/ 190471 w 878349"/>
                <a:gd name="connsiteY13" fmla="*/ 161910 h 542852"/>
                <a:gd name="connsiteX14" fmla="*/ 228858 w 878349"/>
                <a:gd name="connsiteY14" fmla="*/ 165780 h 542852"/>
                <a:gd name="connsiteX15" fmla="*/ 244320 w 878349"/>
                <a:gd name="connsiteY15" fmla="*/ 170580 h 542852"/>
                <a:gd name="connsiteX16" fmla="*/ 526204 w 878349"/>
                <a:gd name="connsiteY16" fmla="*/ 25 h 542852"/>
                <a:gd name="connsiteX0" fmla="*/ 526204 w 878349"/>
                <a:gd name="connsiteY0" fmla="*/ 3284 h 546111"/>
                <a:gd name="connsiteX1" fmla="*/ 753041 w 878349"/>
                <a:gd name="connsiteY1" fmla="*/ 285861 h 546111"/>
                <a:gd name="connsiteX2" fmla="*/ 798544 w 878349"/>
                <a:gd name="connsiteY2" fmla="*/ 295048 h 546111"/>
                <a:gd name="connsiteX3" fmla="*/ 878349 w 878349"/>
                <a:gd name="connsiteY3" fmla="*/ 415445 h 546111"/>
                <a:gd name="connsiteX4" fmla="*/ 798544 w 878349"/>
                <a:gd name="connsiteY4" fmla="*/ 535843 h 546111"/>
                <a:gd name="connsiteX5" fmla="*/ 759827 w 878349"/>
                <a:gd name="connsiteY5" fmla="*/ 543659 h 546111"/>
                <a:gd name="connsiteX6" fmla="*/ 753908 w 878349"/>
                <a:gd name="connsiteY6" fmla="*/ 546111 h 546111"/>
                <a:gd name="connsiteX7" fmla="*/ 747683 w 878349"/>
                <a:gd name="connsiteY7" fmla="*/ 546111 h 546111"/>
                <a:gd name="connsiteX8" fmla="*/ 190471 w 878349"/>
                <a:gd name="connsiteY8" fmla="*/ 546111 h 546111"/>
                <a:gd name="connsiteX9" fmla="*/ 166602 w 878349"/>
                <a:gd name="connsiteY9" fmla="*/ 546111 h 546111"/>
                <a:gd name="connsiteX10" fmla="*/ 158924 w 878349"/>
                <a:gd name="connsiteY10" fmla="*/ 542931 h 546111"/>
                <a:gd name="connsiteX11" fmla="*/ 152084 w 878349"/>
                <a:gd name="connsiteY11" fmla="*/ 542242 h 546111"/>
                <a:gd name="connsiteX12" fmla="*/ 0 w 878349"/>
                <a:gd name="connsiteY12" fmla="*/ 355640 h 546111"/>
                <a:gd name="connsiteX13" fmla="*/ 190471 w 878349"/>
                <a:gd name="connsiteY13" fmla="*/ 165169 h 546111"/>
                <a:gd name="connsiteX14" fmla="*/ 228858 w 878349"/>
                <a:gd name="connsiteY14" fmla="*/ 169039 h 546111"/>
                <a:gd name="connsiteX15" fmla="*/ 244320 w 878349"/>
                <a:gd name="connsiteY15" fmla="*/ 173839 h 546111"/>
                <a:gd name="connsiteX16" fmla="*/ 526204 w 878349"/>
                <a:gd name="connsiteY16" fmla="*/ 3284 h 546111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912 h 543739"/>
                <a:gd name="connsiteX1" fmla="*/ 753041 w 878349"/>
                <a:gd name="connsiteY1" fmla="*/ 283489 h 543739"/>
                <a:gd name="connsiteX2" fmla="*/ 798544 w 878349"/>
                <a:gd name="connsiteY2" fmla="*/ 292676 h 543739"/>
                <a:gd name="connsiteX3" fmla="*/ 878349 w 878349"/>
                <a:gd name="connsiteY3" fmla="*/ 413073 h 543739"/>
                <a:gd name="connsiteX4" fmla="*/ 798544 w 878349"/>
                <a:gd name="connsiteY4" fmla="*/ 533471 h 543739"/>
                <a:gd name="connsiteX5" fmla="*/ 759827 w 878349"/>
                <a:gd name="connsiteY5" fmla="*/ 541287 h 543739"/>
                <a:gd name="connsiteX6" fmla="*/ 753908 w 878349"/>
                <a:gd name="connsiteY6" fmla="*/ 543739 h 543739"/>
                <a:gd name="connsiteX7" fmla="*/ 747683 w 878349"/>
                <a:gd name="connsiteY7" fmla="*/ 543739 h 543739"/>
                <a:gd name="connsiteX8" fmla="*/ 190471 w 878349"/>
                <a:gd name="connsiteY8" fmla="*/ 543739 h 543739"/>
                <a:gd name="connsiteX9" fmla="*/ 166602 w 878349"/>
                <a:gd name="connsiteY9" fmla="*/ 543739 h 543739"/>
                <a:gd name="connsiteX10" fmla="*/ 158924 w 878349"/>
                <a:gd name="connsiteY10" fmla="*/ 540559 h 543739"/>
                <a:gd name="connsiteX11" fmla="*/ 152084 w 878349"/>
                <a:gd name="connsiteY11" fmla="*/ 539870 h 543739"/>
                <a:gd name="connsiteX12" fmla="*/ 0 w 878349"/>
                <a:gd name="connsiteY12" fmla="*/ 353268 h 543739"/>
                <a:gd name="connsiteX13" fmla="*/ 190471 w 878349"/>
                <a:gd name="connsiteY13" fmla="*/ 162797 h 543739"/>
                <a:gd name="connsiteX14" fmla="*/ 228858 w 878349"/>
                <a:gd name="connsiteY14" fmla="*/ 166667 h 543739"/>
                <a:gd name="connsiteX15" fmla="*/ 244320 w 878349"/>
                <a:gd name="connsiteY15" fmla="*/ 171467 h 543739"/>
                <a:gd name="connsiteX16" fmla="*/ 526204 w 878349"/>
                <a:gd name="connsiteY16" fmla="*/ 912 h 543739"/>
                <a:gd name="connsiteX0" fmla="*/ 526204 w 878349"/>
                <a:gd name="connsiteY0" fmla="*/ 2110 h 544937"/>
                <a:gd name="connsiteX1" fmla="*/ 753041 w 878349"/>
                <a:gd name="connsiteY1" fmla="*/ 284687 h 544937"/>
                <a:gd name="connsiteX2" fmla="*/ 798544 w 878349"/>
                <a:gd name="connsiteY2" fmla="*/ 293874 h 544937"/>
                <a:gd name="connsiteX3" fmla="*/ 878349 w 878349"/>
                <a:gd name="connsiteY3" fmla="*/ 414271 h 544937"/>
                <a:gd name="connsiteX4" fmla="*/ 798544 w 878349"/>
                <a:gd name="connsiteY4" fmla="*/ 534669 h 544937"/>
                <a:gd name="connsiteX5" fmla="*/ 759827 w 878349"/>
                <a:gd name="connsiteY5" fmla="*/ 542485 h 544937"/>
                <a:gd name="connsiteX6" fmla="*/ 753908 w 878349"/>
                <a:gd name="connsiteY6" fmla="*/ 544937 h 544937"/>
                <a:gd name="connsiteX7" fmla="*/ 747683 w 878349"/>
                <a:gd name="connsiteY7" fmla="*/ 544937 h 544937"/>
                <a:gd name="connsiteX8" fmla="*/ 190471 w 878349"/>
                <a:gd name="connsiteY8" fmla="*/ 544937 h 544937"/>
                <a:gd name="connsiteX9" fmla="*/ 166602 w 878349"/>
                <a:gd name="connsiteY9" fmla="*/ 544937 h 544937"/>
                <a:gd name="connsiteX10" fmla="*/ 158924 w 878349"/>
                <a:gd name="connsiteY10" fmla="*/ 541757 h 544937"/>
                <a:gd name="connsiteX11" fmla="*/ 152084 w 878349"/>
                <a:gd name="connsiteY11" fmla="*/ 541068 h 544937"/>
                <a:gd name="connsiteX12" fmla="*/ 0 w 878349"/>
                <a:gd name="connsiteY12" fmla="*/ 354466 h 544937"/>
                <a:gd name="connsiteX13" fmla="*/ 190471 w 878349"/>
                <a:gd name="connsiteY13" fmla="*/ 163995 h 544937"/>
                <a:gd name="connsiteX14" fmla="*/ 228858 w 878349"/>
                <a:gd name="connsiteY14" fmla="*/ 167865 h 544937"/>
                <a:gd name="connsiteX15" fmla="*/ 244320 w 878349"/>
                <a:gd name="connsiteY15" fmla="*/ 172665 h 544937"/>
                <a:gd name="connsiteX16" fmla="*/ 526204 w 878349"/>
                <a:gd name="connsiteY16" fmla="*/ 2110 h 544937"/>
                <a:gd name="connsiteX0" fmla="*/ 526204 w 878349"/>
                <a:gd name="connsiteY0" fmla="*/ 2045 h 544872"/>
                <a:gd name="connsiteX1" fmla="*/ 753041 w 878349"/>
                <a:gd name="connsiteY1" fmla="*/ 284622 h 544872"/>
                <a:gd name="connsiteX2" fmla="*/ 798544 w 878349"/>
                <a:gd name="connsiteY2" fmla="*/ 293809 h 544872"/>
                <a:gd name="connsiteX3" fmla="*/ 878349 w 878349"/>
                <a:gd name="connsiteY3" fmla="*/ 414206 h 544872"/>
                <a:gd name="connsiteX4" fmla="*/ 798544 w 878349"/>
                <a:gd name="connsiteY4" fmla="*/ 534604 h 544872"/>
                <a:gd name="connsiteX5" fmla="*/ 759827 w 878349"/>
                <a:gd name="connsiteY5" fmla="*/ 542420 h 544872"/>
                <a:gd name="connsiteX6" fmla="*/ 753908 w 878349"/>
                <a:gd name="connsiteY6" fmla="*/ 544872 h 544872"/>
                <a:gd name="connsiteX7" fmla="*/ 747683 w 878349"/>
                <a:gd name="connsiteY7" fmla="*/ 544872 h 544872"/>
                <a:gd name="connsiteX8" fmla="*/ 190471 w 878349"/>
                <a:gd name="connsiteY8" fmla="*/ 544872 h 544872"/>
                <a:gd name="connsiteX9" fmla="*/ 166602 w 878349"/>
                <a:gd name="connsiteY9" fmla="*/ 544872 h 544872"/>
                <a:gd name="connsiteX10" fmla="*/ 158924 w 878349"/>
                <a:gd name="connsiteY10" fmla="*/ 541692 h 544872"/>
                <a:gd name="connsiteX11" fmla="*/ 152084 w 878349"/>
                <a:gd name="connsiteY11" fmla="*/ 541003 h 544872"/>
                <a:gd name="connsiteX12" fmla="*/ 0 w 878349"/>
                <a:gd name="connsiteY12" fmla="*/ 354401 h 544872"/>
                <a:gd name="connsiteX13" fmla="*/ 190471 w 878349"/>
                <a:gd name="connsiteY13" fmla="*/ 163930 h 544872"/>
                <a:gd name="connsiteX14" fmla="*/ 228858 w 878349"/>
                <a:gd name="connsiteY14" fmla="*/ 167800 h 544872"/>
                <a:gd name="connsiteX15" fmla="*/ 244320 w 878349"/>
                <a:gd name="connsiteY15" fmla="*/ 172600 h 544872"/>
                <a:gd name="connsiteX16" fmla="*/ 526204 w 878349"/>
                <a:gd name="connsiteY16" fmla="*/ 2045 h 544872"/>
                <a:gd name="connsiteX0" fmla="*/ 526204 w 878349"/>
                <a:gd name="connsiteY0" fmla="*/ 3099 h 545926"/>
                <a:gd name="connsiteX1" fmla="*/ 753041 w 878349"/>
                <a:gd name="connsiteY1" fmla="*/ 285676 h 545926"/>
                <a:gd name="connsiteX2" fmla="*/ 798544 w 878349"/>
                <a:gd name="connsiteY2" fmla="*/ 294863 h 545926"/>
                <a:gd name="connsiteX3" fmla="*/ 878349 w 878349"/>
                <a:gd name="connsiteY3" fmla="*/ 415260 h 545926"/>
                <a:gd name="connsiteX4" fmla="*/ 798544 w 878349"/>
                <a:gd name="connsiteY4" fmla="*/ 535658 h 545926"/>
                <a:gd name="connsiteX5" fmla="*/ 759827 w 878349"/>
                <a:gd name="connsiteY5" fmla="*/ 543474 h 545926"/>
                <a:gd name="connsiteX6" fmla="*/ 753908 w 878349"/>
                <a:gd name="connsiteY6" fmla="*/ 545926 h 545926"/>
                <a:gd name="connsiteX7" fmla="*/ 747683 w 878349"/>
                <a:gd name="connsiteY7" fmla="*/ 545926 h 545926"/>
                <a:gd name="connsiteX8" fmla="*/ 190471 w 878349"/>
                <a:gd name="connsiteY8" fmla="*/ 545926 h 545926"/>
                <a:gd name="connsiteX9" fmla="*/ 166602 w 878349"/>
                <a:gd name="connsiteY9" fmla="*/ 545926 h 545926"/>
                <a:gd name="connsiteX10" fmla="*/ 158924 w 878349"/>
                <a:gd name="connsiteY10" fmla="*/ 542746 h 545926"/>
                <a:gd name="connsiteX11" fmla="*/ 152084 w 878349"/>
                <a:gd name="connsiteY11" fmla="*/ 542057 h 545926"/>
                <a:gd name="connsiteX12" fmla="*/ 0 w 878349"/>
                <a:gd name="connsiteY12" fmla="*/ 355455 h 545926"/>
                <a:gd name="connsiteX13" fmla="*/ 190471 w 878349"/>
                <a:gd name="connsiteY13" fmla="*/ 164984 h 545926"/>
                <a:gd name="connsiteX14" fmla="*/ 228858 w 878349"/>
                <a:gd name="connsiteY14" fmla="*/ 168854 h 545926"/>
                <a:gd name="connsiteX15" fmla="*/ 244320 w 878349"/>
                <a:gd name="connsiteY15" fmla="*/ 173654 h 545926"/>
                <a:gd name="connsiteX16" fmla="*/ 526204 w 878349"/>
                <a:gd name="connsiteY16" fmla="*/ 3099 h 545926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798544 w 878349"/>
                <a:gd name="connsiteY2" fmla="*/ 294587 h 545650"/>
                <a:gd name="connsiteX3" fmla="*/ 878349 w 878349"/>
                <a:gd name="connsiteY3" fmla="*/ 414984 h 545650"/>
                <a:gd name="connsiteX4" fmla="*/ 798544 w 878349"/>
                <a:gd name="connsiteY4" fmla="*/ 535382 h 545650"/>
                <a:gd name="connsiteX5" fmla="*/ 759827 w 878349"/>
                <a:gd name="connsiteY5" fmla="*/ 543198 h 545650"/>
                <a:gd name="connsiteX6" fmla="*/ 753908 w 878349"/>
                <a:gd name="connsiteY6" fmla="*/ 545650 h 545650"/>
                <a:gd name="connsiteX7" fmla="*/ 747683 w 878349"/>
                <a:gd name="connsiteY7" fmla="*/ 545650 h 545650"/>
                <a:gd name="connsiteX8" fmla="*/ 190471 w 878349"/>
                <a:gd name="connsiteY8" fmla="*/ 545650 h 545650"/>
                <a:gd name="connsiteX9" fmla="*/ 166602 w 878349"/>
                <a:gd name="connsiteY9" fmla="*/ 545650 h 545650"/>
                <a:gd name="connsiteX10" fmla="*/ 158924 w 878349"/>
                <a:gd name="connsiteY10" fmla="*/ 542470 h 545650"/>
                <a:gd name="connsiteX11" fmla="*/ 152084 w 878349"/>
                <a:gd name="connsiteY11" fmla="*/ 541781 h 545650"/>
                <a:gd name="connsiteX12" fmla="*/ 0 w 878349"/>
                <a:gd name="connsiteY12" fmla="*/ 355179 h 545650"/>
                <a:gd name="connsiteX13" fmla="*/ 190471 w 878349"/>
                <a:gd name="connsiteY13" fmla="*/ 164708 h 545650"/>
                <a:gd name="connsiteX14" fmla="*/ 228858 w 878349"/>
                <a:gd name="connsiteY14" fmla="*/ 168578 h 545650"/>
                <a:gd name="connsiteX15" fmla="*/ 244320 w 878349"/>
                <a:gd name="connsiteY15" fmla="*/ 173378 h 545650"/>
                <a:gd name="connsiteX16" fmla="*/ 526204 w 878349"/>
                <a:gd name="connsiteY16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53908 w 878349"/>
                <a:gd name="connsiteY5" fmla="*/ 545650 h 545650"/>
                <a:gd name="connsiteX6" fmla="*/ 747683 w 878349"/>
                <a:gd name="connsiteY6" fmla="*/ 545650 h 545650"/>
                <a:gd name="connsiteX7" fmla="*/ 190471 w 878349"/>
                <a:gd name="connsiteY7" fmla="*/ 545650 h 545650"/>
                <a:gd name="connsiteX8" fmla="*/ 166602 w 878349"/>
                <a:gd name="connsiteY8" fmla="*/ 545650 h 545650"/>
                <a:gd name="connsiteX9" fmla="*/ 158924 w 878349"/>
                <a:gd name="connsiteY9" fmla="*/ 542470 h 545650"/>
                <a:gd name="connsiteX10" fmla="*/ 152084 w 878349"/>
                <a:gd name="connsiteY10" fmla="*/ 541781 h 545650"/>
                <a:gd name="connsiteX11" fmla="*/ 0 w 878349"/>
                <a:gd name="connsiteY11" fmla="*/ 355179 h 545650"/>
                <a:gd name="connsiteX12" fmla="*/ 190471 w 878349"/>
                <a:gd name="connsiteY12" fmla="*/ 164708 h 545650"/>
                <a:gd name="connsiteX13" fmla="*/ 228858 w 878349"/>
                <a:gd name="connsiteY13" fmla="*/ 168578 h 545650"/>
                <a:gd name="connsiteX14" fmla="*/ 244320 w 878349"/>
                <a:gd name="connsiteY14" fmla="*/ 173378 h 545650"/>
                <a:gd name="connsiteX15" fmla="*/ 526204 w 878349"/>
                <a:gd name="connsiteY15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47683 w 878349"/>
                <a:gd name="connsiteY5" fmla="*/ 545650 h 545650"/>
                <a:gd name="connsiteX6" fmla="*/ 190471 w 878349"/>
                <a:gd name="connsiteY6" fmla="*/ 545650 h 545650"/>
                <a:gd name="connsiteX7" fmla="*/ 166602 w 878349"/>
                <a:gd name="connsiteY7" fmla="*/ 545650 h 545650"/>
                <a:gd name="connsiteX8" fmla="*/ 158924 w 878349"/>
                <a:gd name="connsiteY8" fmla="*/ 542470 h 545650"/>
                <a:gd name="connsiteX9" fmla="*/ 152084 w 878349"/>
                <a:gd name="connsiteY9" fmla="*/ 541781 h 545650"/>
                <a:gd name="connsiteX10" fmla="*/ 0 w 878349"/>
                <a:gd name="connsiteY10" fmla="*/ 355179 h 545650"/>
                <a:gd name="connsiteX11" fmla="*/ 190471 w 878349"/>
                <a:gd name="connsiteY11" fmla="*/ 164708 h 545650"/>
                <a:gd name="connsiteX12" fmla="*/ 228858 w 878349"/>
                <a:gd name="connsiteY12" fmla="*/ 168578 h 545650"/>
                <a:gd name="connsiteX13" fmla="*/ 244320 w 878349"/>
                <a:gd name="connsiteY13" fmla="*/ 173378 h 545650"/>
                <a:gd name="connsiteX14" fmla="*/ 526204 w 878349"/>
                <a:gd name="connsiteY14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47683 w 878349"/>
                <a:gd name="connsiteY4" fmla="*/ 545650 h 545650"/>
                <a:gd name="connsiteX5" fmla="*/ 190471 w 878349"/>
                <a:gd name="connsiteY5" fmla="*/ 545650 h 545650"/>
                <a:gd name="connsiteX6" fmla="*/ 166602 w 878349"/>
                <a:gd name="connsiteY6" fmla="*/ 545650 h 545650"/>
                <a:gd name="connsiteX7" fmla="*/ 158924 w 878349"/>
                <a:gd name="connsiteY7" fmla="*/ 542470 h 545650"/>
                <a:gd name="connsiteX8" fmla="*/ 152084 w 878349"/>
                <a:gd name="connsiteY8" fmla="*/ 541781 h 545650"/>
                <a:gd name="connsiteX9" fmla="*/ 0 w 878349"/>
                <a:gd name="connsiteY9" fmla="*/ 355179 h 545650"/>
                <a:gd name="connsiteX10" fmla="*/ 190471 w 878349"/>
                <a:gd name="connsiteY10" fmla="*/ 164708 h 545650"/>
                <a:gd name="connsiteX11" fmla="*/ 228858 w 878349"/>
                <a:gd name="connsiteY11" fmla="*/ 168578 h 545650"/>
                <a:gd name="connsiteX12" fmla="*/ 244320 w 878349"/>
                <a:gd name="connsiteY12" fmla="*/ 173378 h 545650"/>
                <a:gd name="connsiteX13" fmla="*/ 526204 w 878349"/>
                <a:gd name="connsiteY13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60"/>
                <a:gd name="connsiteY0" fmla="*/ 2823 h 545650"/>
                <a:gd name="connsiteX1" fmla="*/ 753041 w 878360"/>
                <a:gd name="connsiteY1" fmla="*/ 285400 h 545650"/>
                <a:gd name="connsiteX2" fmla="*/ 878349 w 878360"/>
                <a:gd name="connsiteY2" fmla="*/ 414984 h 545650"/>
                <a:gd name="connsiteX3" fmla="*/ 747683 w 878360"/>
                <a:gd name="connsiteY3" fmla="*/ 545650 h 545650"/>
                <a:gd name="connsiteX4" fmla="*/ 190471 w 878360"/>
                <a:gd name="connsiteY4" fmla="*/ 545650 h 545650"/>
                <a:gd name="connsiteX5" fmla="*/ 166602 w 878360"/>
                <a:gd name="connsiteY5" fmla="*/ 545650 h 545650"/>
                <a:gd name="connsiteX6" fmla="*/ 158924 w 878360"/>
                <a:gd name="connsiteY6" fmla="*/ 542470 h 545650"/>
                <a:gd name="connsiteX7" fmla="*/ 152084 w 878360"/>
                <a:gd name="connsiteY7" fmla="*/ 541781 h 545650"/>
                <a:gd name="connsiteX8" fmla="*/ 0 w 878360"/>
                <a:gd name="connsiteY8" fmla="*/ 355179 h 545650"/>
                <a:gd name="connsiteX9" fmla="*/ 190471 w 878360"/>
                <a:gd name="connsiteY9" fmla="*/ 164708 h 545650"/>
                <a:gd name="connsiteX10" fmla="*/ 228858 w 878360"/>
                <a:gd name="connsiteY10" fmla="*/ 168578 h 545650"/>
                <a:gd name="connsiteX11" fmla="*/ 244320 w 878360"/>
                <a:gd name="connsiteY11" fmla="*/ 173378 h 545650"/>
                <a:gd name="connsiteX12" fmla="*/ 526204 w 878360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51"/>
                <a:gd name="connsiteY0" fmla="*/ 2823 h 545650"/>
                <a:gd name="connsiteX1" fmla="*/ 753041 w 878351"/>
                <a:gd name="connsiteY1" fmla="*/ 285400 h 545650"/>
                <a:gd name="connsiteX2" fmla="*/ 878349 w 878351"/>
                <a:gd name="connsiteY2" fmla="*/ 414984 h 545650"/>
                <a:gd name="connsiteX3" fmla="*/ 747683 w 878351"/>
                <a:gd name="connsiteY3" fmla="*/ 545650 h 545650"/>
                <a:gd name="connsiteX4" fmla="*/ 190471 w 878351"/>
                <a:gd name="connsiteY4" fmla="*/ 545650 h 545650"/>
                <a:gd name="connsiteX5" fmla="*/ 166602 w 878351"/>
                <a:gd name="connsiteY5" fmla="*/ 545650 h 545650"/>
                <a:gd name="connsiteX6" fmla="*/ 158924 w 878351"/>
                <a:gd name="connsiteY6" fmla="*/ 542470 h 545650"/>
                <a:gd name="connsiteX7" fmla="*/ 152084 w 878351"/>
                <a:gd name="connsiteY7" fmla="*/ 541781 h 545650"/>
                <a:gd name="connsiteX8" fmla="*/ 0 w 878351"/>
                <a:gd name="connsiteY8" fmla="*/ 355179 h 545650"/>
                <a:gd name="connsiteX9" fmla="*/ 190471 w 878351"/>
                <a:gd name="connsiteY9" fmla="*/ 164708 h 545650"/>
                <a:gd name="connsiteX10" fmla="*/ 228858 w 878351"/>
                <a:gd name="connsiteY10" fmla="*/ 168578 h 545650"/>
                <a:gd name="connsiteX11" fmla="*/ 244320 w 878351"/>
                <a:gd name="connsiteY11" fmla="*/ 173378 h 545650"/>
                <a:gd name="connsiteX12" fmla="*/ 526204 w 878351"/>
                <a:gd name="connsiteY12" fmla="*/ 2823 h 545650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7585 w 879730"/>
                <a:gd name="connsiteY0" fmla="*/ 2823 h 545651"/>
                <a:gd name="connsiteX1" fmla="*/ 754422 w 879730"/>
                <a:gd name="connsiteY1" fmla="*/ 285400 h 545651"/>
                <a:gd name="connsiteX2" fmla="*/ 879730 w 879730"/>
                <a:gd name="connsiteY2" fmla="*/ 414984 h 545651"/>
                <a:gd name="connsiteX3" fmla="*/ 749064 w 879730"/>
                <a:gd name="connsiteY3" fmla="*/ 545650 h 545651"/>
                <a:gd name="connsiteX4" fmla="*/ 191852 w 879730"/>
                <a:gd name="connsiteY4" fmla="*/ 545650 h 545651"/>
                <a:gd name="connsiteX5" fmla="*/ 167983 w 879730"/>
                <a:gd name="connsiteY5" fmla="*/ 545650 h 545651"/>
                <a:gd name="connsiteX6" fmla="*/ 160305 w 879730"/>
                <a:gd name="connsiteY6" fmla="*/ 542470 h 545651"/>
                <a:gd name="connsiteX7" fmla="*/ 153465 w 879730"/>
                <a:gd name="connsiteY7" fmla="*/ 541781 h 545651"/>
                <a:gd name="connsiteX8" fmla="*/ 1381 w 879730"/>
                <a:gd name="connsiteY8" fmla="*/ 355179 h 545651"/>
                <a:gd name="connsiteX9" fmla="*/ 230239 w 879730"/>
                <a:gd name="connsiteY9" fmla="*/ 168578 h 545651"/>
                <a:gd name="connsiteX10" fmla="*/ 245701 w 879730"/>
                <a:gd name="connsiteY10" fmla="*/ 173378 h 545651"/>
                <a:gd name="connsiteX11" fmla="*/ 527585 w 879730"/>
                <a:gd name="connsiteY11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6208 w 878353"/>
                <a:gd name="connsiteY0" fmla="*/ 2823 h 545651"/>
                <a:gd name="connsiteX1" fmla="*/ 753045 w 878353"/>
                <a:gd name="connsiteY1" fmla="*/ 285400 h 545651"/>
                <a:gd name="connsiteX2" fmla="*/ 878353 w 878353"/>
                <a:gd name="connsiteY2" fmla="*/ 414984 h 545651"/>
                <a:gd name="connsiteX3" fmla="*/ 747687 w 878353"/>
                <a:gd name="connsiteY3" fmla="*/ 545650 h 545651"/>
                <a:gd name="connsiteX4" fmla="*/ 190475 w 878353"/>
                <a:gd name="connsiteY4" fmla="*/ 545650 h 545651"/>
                <a:gd name="connsiteX5" fmla="*/ 166606 w 878353"/>
                <a:gd name="connsiteY5" fmla="*/ 545650 h 545651"/>
                <a:gd name="connsiteX6" fmla="*/ 158928 w 878353"/>
                <a:gd name="connsiteY6" fmla="*/ 542470 h 545651"/>
                <a:gd name="connsiteX7" fmla="*/ 152088 w 878353"/>
                <a:gd name="connsiteY7" fmla="*/ 541781 h 545651"/>
                <a:gd name="connsiteX8" fmla="*/ 4 w 878353"/>
                <a:gd name="connsiteY8" fmla="*/ 355179 h 545651"/>
                <a:gd name="connsiteX9" fmla="*/ 244324 w 878353"/>
                <a:gd name="connsiteY9" fmla="*/ 173378 h 545651"/>
                <a:gd name="connsiteX10" fmla="*/ 526208 w 878353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66614 w 878361"/>
                <a:gd name="connsiteY5" fmla="*/ 545650 h 545651"/>
                <a:gd name="connsiteX6" fmla="*/ 158936 w 878361"/>
                <a:gd name="connsiteY6" fmla="*/ 542470 h 545651"/>
                <a:gd name="connsiteX7" fmla="*/ 152096 w 878361"/>
                <a:gd name="connsiteY7" fmla="*/ 541781 h 545651"/>
                <a:gd name="connsiteX8" fmla="*/ 12 w 878361"/>
                <a:gd name="connsiteY8" fmla="*/ 355179 h 545651"/>
                <a:gd name="connsiteX9" fmla="*/ 244332 w 878361"/>
                <a:gd name="connsiteY9" fmla="*/ 173378 h 545651"/>
                <a:gd name="connsiteX10" fmla="*/ 526216 w 878361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8936 w 878361"/>
                <a:gd name="connsiteY5" fmla="*/ 542470 h 545651"/>
                <a:gd name="connsiteX6" fmla="*/ 152096 w 878361"/>
                <a:gd name="connsiteY6" fmla="*/ 541781 h 545651"/>
                <a:gd name="connsiteX7" fmla="*/ 12 w 878361"/>
                <a:gd name="connsiteY7" fmla="*/ 355179 h 545651"/>
                <a:gd name="connsiteX8" fmla="*/ 244332 w 878361"/>
                <a:gd name="connsiteY8" fmla="*/ 173378 h 545651"/>
                <a:gd name="connsiteX9" fmla="*/ 526216 w 878361"/>
                <a:gd name="connsiteY9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2096 w 878361"/>
                <a:gd name="connsiteY5" fmla="*/ 541781 h 545651"/>
                <a:gd name="connsiteX6" fmla="*/ 12 w 878361"/>
                <a:gd name="connsiteY6" fmla="*/ 355179 h 545651"/>
                <a:gd name="connsiteX7" fmla="*/ 244332 w 878361"/>
                <a:gd name="connsiteY7" fmla="*/ 173378 h 545651"/>
                <a:gd name="connsiteX8" fmla="*/ 526216 w 878361"/>
                <a:gd name="connsiteY8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2 w 878361"/>
                <a:gd name="connsiteY5" fmla="*/ 355179 h 545651"/>
                <a:gd name="connsiteX6" fmla="*/ 244332 w 878361"/>
                <a:gd name="connsiteY6" fmla="*/ 173378 h 545651"/>
                <a:gd name="connsiteX7" fmla="*/ 526216 w 878361"/>
                <a:gd name="connsiteY7" fmla="*/ 2823 h 545651"/>
                <a:gd name="connsiteX0" fmla="*/ 528231 w 880376"/>
                <a:gd name="connsiteY0" fmla="*/ 2823 h 545651"/>
                <a:gd name="connsiteX1" fmla="*/ 755068 w 880376"/>
                <a:gd name="connsiteY1" fmla="*/ 285400 h 545651"/>
                <a:gd name="connsiteX2" fmla="*/ 880376 w 880376"/>
                <a:gd name="connsiteY2" fmla="*/ 414984 h 545651"/>
                <a:gd name="connsiteX3" fmla="*/ 749710 w 880376"/>
                <a:gd name="connsiteY3" fmla="*/ 545650 h 545651"/>
                <a:gd name="connsiteX4" fmla="*/ 192498 w 880376"/>
                <a:gd name="connsiteY4" fmla="*/ 545650 h 545651"/>
                <a:gd name="connsiteX5" fmla="*/ 2027 w 880376"/>
                <a:gd name="connsiteY5" fmla="*/ 355179 h 545651"/>
                <a:gd name="connsiteX6" fmla="*/ 246347 w 880376"/>
                <a:gd name="connsiteY6" fmla="*/ 173378 h 545651"/>
                <a:gd name="connsiteX7" fmla="*/ 528231 w 880376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245 w 878390"/>
                <a:gd name="connsiteY0" fmla="*/ 2823 h 545651"/>
                <a:gd name="connsiteX1" fmla="*/ 753082 w 878390"/>
                <a:gd name="connsiteY1" fmla="*/ 285400 h 545651"/>
                <a:gd name="connsiteX2" fmla="*/ 878390 w 878390"/>
                <a:gd name="connsiteY2" fmla="*/ 414984 h 545651"/>
                <a:gd name="connsiteX3" fmla="*/ 747724 w 878390"/>
                <a:gd name="connsiteY3" fmla="*/ 545650 h 545651"/>
                <a:gd name="connsiteX4" fmla="*/ 190512 w 878390"/>
                <a:gd name="connsiteY4" fmla="*/ 545650 h 545651"/>
                <a:gd name="connsiteX5" fmla="*/ 41 w 878390"/>
                <a:gd name="connsiteY5" fmla="*/ 355179 h 545651"/>
                <a:gd name="connsiteX6" fmla="*/ 244361 w 878390"/>
                <a:gd name="connsiteY6" fmla="*/ 173378 h 545651"/>
                <a:gd name="connsiteX7" fmla="*/ 526245 w 878390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721 w 878866"/>
                <a:gd name="connsiteY0" fmla="*/ 2823 h 545651"/>
                <a:gd name="connsiteX1" fmla="*/ 753558 w 878866"/>
                <a:gd name="connsiteY1" fmla="*/ 285400 h 545651"/>
                <a:gd name="connsiteX2" fmla="*/ 878866 w 878866"/>
                <a:gd name="connsiteY2" fmla="*/ 414984 h 545651"/>
                <a:gd name="connsiteX3" fmla="*/ 748200 w 878866"/>
                <a:gd name="connsiteY3" fmla="*/ 545650 h 545651"/>
                <a:gd name="connsiteX4" fmla="*/ 190988 w 878866"/>
                <a:gd name="connsiteY4" fmla="*/ 545650 h 545651"/>
                <a:gd name="connsiteX5" fmla="*/ 517 w 878866"/>
                <a:gd name="connsiteY5" fmla="*/ 355179 h 545651"/>
                <a:gd name="connsiteX6" fmla="*/ 244837 w 878866"/>
                <a:gd name="connsiteY6" fmla="*/ 173378 h 545651"/>
                <a:gd name="connsiteX7" fmla="*/ 526721 w 878866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8391" h="545651">
                  <a:moveTo>
                    <a:pt x="526246" y="2823"/>
                  </a:moveTo>
                  <a:cubicBezTo>
                    <a:pt x="663881" y="24023"/>
                    <a:pt x="772336" y="152517"/>
                    <a:pt x="753083" y="285400"/>
                  </a:cubicBezTo>
                  <a:cubicBezTo>
                    <a:pt x="852208" y="299089"/>
                    <a:pt x="878212" y="375742"/>
                    <a:pt x="878391" y="414984"/>
                  </a:cubicBezTo>
                  <a:cubicBezTo>
                    <a:pt x="878627" y="466609"/>
                    <a:pt x="833938" y="546043"/>
                    <a:pt x="747725" y="545650"/>
                  </a:cubicBezTo>
                  <a:lnTo>
                    <a:pt x="190513" y="545650"/>
                  </a:lnTo>
                  <a:cubicBezTo>
                    <a:pt x="77130" y="544985"/>
                    <a:pt x="2268" y="445667"/>
                    <a:pt x="42" y="355179"/>
                  </a:cubicBezTo>
                  <a:cubicBezTo>
                    <a:pt x="-2184" y="264691"/>
                    <a:pt x="84465" y="123521"/>
                    <a:pt x="244362" y="173378"/>
                  </a:cubicBezTo>
                  <a:cubicBezTo>
                    <a:pt x="271526" y="75658"/>
                    <a:pt x="394045" y="-17540"/>
                    <a:pt x="526246" y="28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75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1961" b="1" kern="0" dirty="0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10376763" y="1615020"/>
              <a:ext cx="435384" cy="569941"/>
              <a:chOff x="10376763" y="1615020"/>
              <a:chExt cx="435384" cy="569941"/>
            </a:xfrm>
          </p:grpSpPr>
          <p:sp>
            <p:nvSpPr>
              <p:cNvPr id="50" name="Rectangle 49"/>
              <p:cNvSpPr/>
              <p:nvPr/>
            </p:nvSpPr>
            <p:spPr bwMode="auto">
              <a:xfrm>
                <a:off x="10427368" y="1710519"/>
                <a:ext cx="333997" cy="349287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1" name="Freeform 110"/>
              <p:cNvSpPr>
                <a:spLocks noChangeArrowheads="1"/>
              </p:cNvSpPr>
              <p:nvPr/>
            </p:nvSpPr>
            <p:spPr bwMode="auto">
              <a:xfrm>
                <a:off x="10376763" y="1615020"/>
                <a:ext cx="435384" cy="569941"/>
              </a:xfrm>
              <a:custGeom>
                <a:avLst/>
                <a:gdLst>
                  <a:gd name="connsiteX0" fmla="*/ 120917 w 890224"/>
                  <a:gd name="connsiteY0" fmla="*/ 792088 h 1165351"/>
                  <a:gd name="connsiteX1" fmla="*/ 120917 w 890224"/>
                  <a:gd name="connsiteY1" fmla="*/ 897233 h 1165351"/>
                  <a:gd name="connsiteX2" fmla="*/ 772813 w 890224"/>
                  <a:gd name="connsiteY2" fmla="*/ 897233 h 1165351"/>
                  <a:gd name="connsiteX3" fmla="*/ 772813 w 890224"/>
                  <a:gd name="connsiteY3" fmla="*/ 792088 h 1165351"/>
                  <a:gd name="connsiteX4" fmla="*/ 120917 w 890224"/>
                  <a:gd name="connsiteY4" fmla="*/ 611589 h 1165351"/>
                  <a:gd name="connsiteX5" fmla="*/ 120917 w 890224"/>
                  <a:gd name="connsiteY5" fmla="*/ 716734 h 1165351"/>
                  <a:gd name="connsiteX6" fmla="*/ 772813 w 890224"/>
                  <a:gd name="connsiteY6" fmla="*/ 716734 h 1165351"/>
                  <a:gd name="connsiteX7" fmla="*/ 772813 w 890224"/>
                  <a:gd name="connsiteY7" fmla="*/ 611589 h 1165351"/>
                  <a:gd name="connsiteX8" fmla="*/ 120917 w 890224"/>
                  <a:gd name="connsiteY8" fmla="*/ 429339 h 1165351"/>
                  <a:gd name="connsiteX9" fmla="*/ 120917 w 890224"/>
                  <a:gd name="connsiteY9" fmla="*/ 532732 h 1165351"/>
                  <a:gd name="connsiteX10" fmla="*/ 772813 w 890224"/>
                  <a:gd name="connsiteY10" fmla="*/ 532732 h 1165351"/>
                  <a:gd name="connsiteX11" fmla="*/ 772813 w 890224"/>
                  <a:gd name="connsiteY11" fmla="*/ 429339 h 1165351"/>
                  <a:gd name="connsiteX12" fmla="*/ 120917 w 890224"/>
                  <a:gd name="connsiteY12" fmla="*/ 247088 h 1165351"/>
                  <a:gd name="connsiteX13" fmla="*/ 120917 w 890224"/>
                  <a:gd name="connsiteY13" fmla="*/ 350481 h 1165351"/>
                  <a:gd name="connsiteX14" fmla="*/ 772813 w 890224"/>
                  <a:gd name="connsiteY14" fmla="*/ 350481 h 1165351"/>
                  <a:gd name="connsiteX15" fmla="*/ 772813 w 890224"/>
                  <a:gd name="connsiteY15" fmla="*/ 247088 h 1165351"/>
                  <a:gd name="connsiteX16" fmla="*/ 171736 w 890224"/>
                  <a:gd name="connsiteY16" fmla="*/ 0 h 1165351"/>
                  <a:gd name="connsiteX17" fmla="*/ 485417 w 890224"/>
                  <a:gd name="connsiteY17" fmla="*/ 0 h 1165351"/>
                  <a:gd name="connsiteX18" fmla="*/ 485417 w 890224"/>
                  <a:gd name="connsiteY18" fmla="*/ 124421 h 1165351"/>
                  <a:gd name="connsiteX19" fmla="*/ 890224 w 890224"/>
                  <a:gd name="connsiteY19" fmla="*/ 124421 h 1165351"/>
                  <a:gd name="connsiteX20" fmla="*/ 890224 w 890224"/>
                  <a:gd name="connsiteY20" fmla="*/ 155964 h 1165351"/>
                  <a:gd name="connsiteX21" fmla="*/ 849919 w 890224"/>
                  <a:gd name="connsiteY21" fmla="*/ 155964 h 1165351"/>
                  <a:gd name="connsiteX22" fmla="*/ 849919 w 890224"/>
                  <a:gd name="connsiteY22" fmla="*/ 1165351 h 1165351"/>
                  <a:gd name="connsiteX23" fmla="*/ 408311 w 890224"/>
                  <a:gd name="connsiteY23" fmla="*/ 1165351 h 1165351"/>
                  <a:gd name="connsiteX24" fmla="*/ 408311 w 890224"/>
                  <a:gd name="connsiteY24" fmla="*/ 962071 h 1165351"/>
                  <a:gd name="connsiteX25" fmla="*/ 301415 w 890224"/>
                  <a:gd name="connsiteY25" fmla="*/ 962071 h 1165351"/>
                  <a:gd name="connsiteX26" fmla="*/ 301415 w 890224"/>
                  <a:gd name="connsiteY26" fmla="*/ 1165351 h 1165351"/>
                  <a:gd name="connsiteX27" fmla="*/ 38554 w 890224"/>
                  <a:gd name="connsiteY27" fmla="*/ 1165351 h 1165351"/>
                  <a:gd name="connsiteX28" fmla="*/ 38554 w 890224"/>
                  <a:gd name="connsiteY28" fmla="*/ 155964 h 1165351"/>
                  <a:gd name="connsiteX29" fmla="*/ 0 w 890224"/>
                  <a:gd name="connsiteY29" fmla="*/ 155964 h 1165351"/>
                  <a:gd name="connsiteX30" fmla="*/ 0 w 890224"/>
                  <a:gd name="connsiteY30" fmla="*/ 124421 h 1165351"/>
                  <a:gd name="connsiteX31" fmla="*/ 171736 w 890224"/>
                  <a:gd name="connsiteY31" fmla="*/ 124421 h 116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890224" h="1165351">
                    <a:moveTo>
                      <a:pt x="120917" y="792088"/>
                    </a:moveTo>
                    <a:lnTo>
                      <a:pt x="120917" y="897233"/>
                    </a:lnTo>
                    <a:lnTo>
                      <a:pt x="772813" y="897233"/>
                    </a:lnTo>
                    <a:lnTo>
                      <a:pt x="772813" y="792088"/>
                    </a:lnTo>
                    <a:close/>
                    <a:moveTo>
                      <a:pt x="120917" y="611589"/>
                    </a:moveTo>
                    <a:lnTo>
                      <a:pt x="120917" y="716734"/>
                    </a:lnTo>
                    <a:lnTo>
                      <a:pt x="772813" y="716734"/>
                    </a:lnTo>
                    <a:lnTo>
                      <a:pt x="772813" y="611589"/>
                    </a:lnTo>
                    <a:close/>
                    <a:moveTo>
                      <a:pt x="120917" y="429339"/>
                    </a:moveTo>
                    <a:lnTo>
                      <a:pt x="120917" y="532732"/>
                    </a:lnTo>
                    <a:lnTo>
                      <a:pt x="772813" y="532732"/>
                    </a:lnTo>
                    <a:lnTo>
                      <a:pt x="772813" y="429339"/>
                    </a:lnTo>
                    <a:close/>
                    <a:moveTo>
                      <a:pt x="120917" y="247088"/>
                    </a:moveTo>
                    <a:lnTo>
                      <a:pt x="120917" y="350481"/>
                    </a:lnTo>
                    <a:lnTo>
                      <a:pt x="772813" y="350481"/>
                    </a:lnTo>
                    <a:lnTo>
                      <a:pt x="772813" y="247088"/>
                    </a:lnTo>
                    <a:close/>
                    <a:moveTo>
                      <a:pt x="171736" y="0"/>
                    </a:moveTo>
                    <a:lnTo>
                      <a:pt x="485417" y="0"/>
                    </a:lnTo>
                    <a:lnTo>
                      <a:pt x="485417" y="124421"/>
                    </a:lnTo>
                    <a:lnTo>
                      <a:pt x="890224" y="124421"/>
                    </a:lnTo>
                    <a:lnTo>
                      <a:pt x="890224" y="155964"/>
                    </a:lnTo>
                    <a:lnTo>
                      <a:pt x="849919" y="155964"/>
                    </a:lnTo>
                    <a:lnTo>
                      <a:pt x="849919" y="1165351"/>
                    </a:lnTo>
                    <a:lnTo>
                      <a:pt x="408311" y="1165351"/>
                    </a:lnTo>
                    <a:lnTo>
                      <a:pt x="408311" y="962071"/>
                    </a:lnTo>
                    <a:lnTo>
                      <a:pt x="301415" y="962071"/>
                    </a:lnTo>
                    <a:lnTo>
                      <a:pt x="301415" y="1165351"/>
                    </a:lnTo>
                    <a:lnTo>
                      <a:pt x="38554" y="1165351"/>
                    </a:lnTo>
                    <a:lnTo>
                      <a:pt x="38554" y="155964"/>
                    </a:lnTo>
                    <a:lnTo>
                      <a:pt x="0" y="155964"/>
                    </a:lnTo>
                    <a:lnTo>
                      <a:pt x="0" y="124421"/>
                    </a:lnTo>
                    <a:lnTo>
                      <a:pt x="171736" y="124421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9" name="Freeform 123"/>
            <p:cNvSpPr>
              <a:spLocks noChangeAspect="1" noEditPoints="1"/>
            </p:cNvSpPr>
            <p:nvPr/>
          </p:nvSpPr>
          <p:spPr bwMode="black">
            <a:xfrm>
              <a:off x="10828319" y="1787490"/>
              <a:ext cx="171201" cy="177786"/>
            </a:xfrm>
            <a:custGeom>
              <a:avLst/>
              <a:gdLst>
                <a:gd name="T0" fmla="*/ 57 w 63"/>
                <a:gd name="T1" fmla="*/ 54 h 65"/>
                <a:gd name="T2" fmla="*/ 57 w 63"/>
                <a:gd name="T3" fmla="*/ 55 h 65"/>
                <a:gd name="T4" fmla="*/ 35 w 63"/>
                <a:gd name="T5" fmla="*/ 65 h 65"/>
                <a:gd name="T6" fmla="*/ 33 w 63"/>
                <a:gd name="T7" fmla="*/ 65 h 65"/>
                <a:gd name="T8" fmla="*/ 12 w 63"/>
                <a:gd name="T9" fmla="*/ 57 h 65"/>
                <a:gd name="T10" fmla="*/ 10 w 63"/>
                <a:gd name="T11" fmla="*/ 55 h 65"/>
                <a:gd name="T12" fmla="*/ 2 w 63"/>
                <a:gd name="T13" fmla="*/ 62 h 65"/>
                <a:gd name="T14" fmla="*/ 0 w 63"/>
                <a:gd name="T15" fmla="*/ 37 h 65"/>
                <a:gd name="T16" fmla="*/ 25 w 63"/>
                <a:gd name="T17" fmla="*/ 42 h 65"/>
                <a:gd name="T18" fmla="*/ 17 w 63"/>
                <a:gd name="T19" fmla="*/ 48 h 65"/>
                <a:gd name="T20" fmla="*/ 20 w 63"/>
                <a:gd name="T21" fmla="*/ 50 h 65"/>
                <a:gd name="T22" fmla="*/ 33 w 63"/>
                <a:gd name="T23" fmla="*/ 55 h 65"/>
                <a:gd name="T24" fmla="*/ 34 w 63"/>
                <a:gd name="T25" fmla="*/ 55 h 65"/>
                <a:gd name="T26" fmla="*/ 49 w 63"/>
                <a:gd name="T27" fmla="*/ 48 h 65"/>
                <a:gd name="T28" fmla="*/ 50 w 63"/>
                <a:gd name="T29" fmla="*/ 48 h 65"/>
                <a:gd name="T30" fmla="*/ 57 w 63"/>
                <a:gd name="T31" fmla="*/ 54 h 65"/>
                <a:gd name="T32" fmla="*/ 63 w 63"/>
                <a:gd name="T33" fmla="*/ 29 h 65"/>
                <a:gd name="T34" fmla="*/ 61 w 63"/>
                <a:gd name="T35" fmla="*/ 4 h 65"/>
                <a:gd name="T36" fmla="*/ 53 w 63"/>
                <a:gd name="T37" fmla="*/ 11 h 65"/>
                <a:gd name="T38" fmla="*/ 53 w 63"/>
                <a:gd name="T39" fmla="*/ 11 h 65"/>
                <a:gd name="T40" fmla="*/ 53 w 63"/>
                <a:gd name="T41" fmla="*/ 10 h 65"/>
                <a:gd name="T42" fmla="*/ 51 w 63"/>
                <a:gd name="T43" fmla="*/ 8 h 65"/>
                <a:gd name="T44" fmla="*/ 29 w 63"/>
                <a:gd name="T45" fmla="*/ 0 h 65"/>
                <a:gd name="T46" fmla="*/ 28 w 63"/>
                <a:gd name="T47" fmla="*/ 0 h 65"/>
                <a:gd name="T48" fmla="*/ 6 w 63"/>
                <a:gd name="T49" fmla="*/ 10 h 65"/>
                <a:gd name="T50" fmla="*/ 5 w 63"/>
                <a:gd name="T51" fmla="*/ 10 h 65"/>
                <a:gd name="T52" fmla="*/ 13 w 63"/>
                <a:gd name="T53" fmla="*/ 17 h 65"/>
                <a:gd name="T54" fmla="*/ 13 w 63"/>
                <a:gd name="T55" fmla="*/ 17 h 65"/>
                <a:gd name="T56" fmla="*/ 28 w 63"/>
                <a:gd name="T57" fmla="*/ 10 h 65"/>
                <a:gd name="T58" fmla="*/ 29 w 63"/>
                <a:gd name="T59" fmla="*/ 10 h 65"/>
                <a:gd name="T60" fmla="*/ 43 w 63"/>
                <a:gd name="T61" fmla="*/ 14 h 65"/>
                <a:gd name="T62" fmla="*/ 46 w 63"/>
                <a:gd name="T63" fmla="*/ 17 h 65"/>
                <a:gd name="T64" fmla="*/ 38 w 63"/>
                <a:gd name="T65" fmla="*/ 24 h 65"/>
                <a:gd name="T66" fmla="*/ 63 w 63"/>
                <a:gd name="T67" fmla="*/ 2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3" h="65">
                  <a:moveTo>
                    <a:pt x="57" y="54"/>
                  </a:moveTo>
                  <a:cubicBezTo>
                    <a:pt x="57" y="55"/>
                    <a:pt x="57" y="55"/>
                    <a:pt x="57" y="55"/>
                  </a:cubicBezTo>
                  <a:cubicBezTo>
                    <a:pt x="51" y="61"/>
                    <a:pt x="43" y="64"/>
                    <a:pt x="35" y="65"/>
                  </a:cubicBezTo>
                  <a:cubicBezTo>
                    <a:pt x="34" y="65"/>
                    <a:pt x="34" y="65"/>
                    <a:pt x="33" y="65"/>
                  </a:cubicBezTo>
                  <a:cubicBezTo>
                    <a:pt x="26" y="65"/>
                    <a:pt x="18" y="62"/>
                    <a:pt x="12" y="57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2" y="62"/>
                    <a:pt x="2" y="62"/>
                    <a:pt x="2" y="62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4" y="53"/>
                    <a:pt x="29" y="55"/>
                    <a:pt x="33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40" y="54"/>
                    <a:pt x="45" y="52"/>
                    <a:pt x="49" y="48"/>
                  </a:cubicBezTo>
                  <a:cubicBezTo>
                    <a:pt x="50" y="48"/>
                    <a:pt x="50" y="48"/>
                    <a:pt x="50" y="48"/>
                  </a:cubicBezTo>
                  <a:lnTo>
                    <a:pt x="57" y="54"/>
                  </a:lnTo>
                  <a:close/>
                  <a:moveTo>
                    <a:pt x="63" y="29"/>
                  </a:moveTo>
                  <a:cubicBezTo>
                    <a:pt x="61" y="4"/>
                    <a:pt x="61" y="4"/>
                    <a:pt x="61" y="4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45" y="3"/>
                    <a:pt x="37" y="0"/>
                    <a:pt x="29" y="0"/>
                  </a:cubicBezTo>
                  <a:cubicBezTo>
                    <a:pt x="29" y="0"/>
                    <a:pt x="28" y="0"/>
                    <a:pt x="28" y="0"/>
                  </a:cubicBezTo>
                  <a:cubicBezTo>
                    <a:pt x="20" y="0"/>
                    <a:pt x="12" y="4"/>
                    <a:pt x="6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7" y="13"/>
                    <a:pt x="23" y="10"/>
                    <a:pt x="28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4" y="10"/>
                    <a:pt x="39" y="12"/>
                    <a:pt x="43" y="14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38" y="24"/>
                    <a:pt x="38" y="24"/>
                    <a:pt x="38" y="24"/>
                  </a:cubicBezTo>
                  <a:lnTo>
                    <a:pt x="63" y="29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/>
          </p:spPr>
          <p:txBody>
            <a:bodyPr vert="horz" wrap="square" lIns="91431" tIns="45715" rIns="91431" bIns="45715" numCol="1" anchor="t" anchorCtr="0" compatLnSpc="1">
              <a:prstTxWarp prst="textNoShape">
                <a:avLst/>
              </a:prstTxWarp>
            </a:bodyPr>
            <a:lstStyle/>
            <a:p>
              <a:pPr defTabSz="914192">
                <a:defRPr/>
              </a:pPr>
              <a:endParaRPr lang="en-US" sz="1765" kern="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9108383" y="3379906"/>
            <a:ext cx="1372748" cy="913828"/>
            <a:chOff x="9334479" y="3507856"/>
            <a:chExt cx="1121597" cy="746638"/>
          </a:xfrm>
        </p:grpSpPr>
        <p:sp>
          <p:nvSpPr>
            <p:cNvPr id="53" name="Rectangle 52"/>
            <p:cNvSpPr/>
            <p:nvPr/>
          </p:nvSpPr>
          <p:spPr>
            <a:xfrm>
              <a:off x="9334480" y="3507856"/>
              <a:ext cx="1121596" cy="54498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418">
                <a:defRPr/>
              </a:pPr>
              <a:endParaRPr lang="en-US" sz="1836" kern="0" dirty="0">
                <a:solidFill>
                  <a:srgbClr val="FFFFFF"/>
                </a:solidFill>
              </a:endParaRPr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9334479" y="3562151"/>
              <a:ext cx="1121596" cy="692343"/>
            </a:xfrm>
            <a:custGeom>
              <a:avLst/>
              <a:gdLst>
                <a:gd name="connsiteX0" fmla="*/ 37715 w 1121596"/>
                <a:gd name="connsiteY0" fmla="*/ 27775 h 692343"/>
                <a:gd name="connsiteX1" fmla="*/ 25202 w 1121596"/>
                <a:gd name="connsiteY1" fmla="*/ 40288 h 692343"/>
                <a:gd name="connsiteX2" fmla="*/ 25202 w 1121596"/>
                <a:gd name="connsiteY2" fmla="*/ 652056 h 692343"/>
                <a:gd name="connsiteX3" fmla="*/ 37715 w 1121596"/>
                <a:gd name="connsiteY3" fmla="*/ 664569 h 692343"/>
                <a:gd name="connsiteX4" fmla="*/ 1083876 w 1121596"/>
                <a:gd name="connsiteY4" fmla="*/ 664569 h 692343"/>
                <a:gd name="connsiteX5" fmla="*/ 1096389 w 1121596"/>
                <a:gd name="connsiteY5" fmla="*/ 652056 h 692343"/>
                <a:gd name="connsiteX6" fmla="*/ 1096389 w 1121596"/>
                <a:gd name="connsiteY6" fmla="*/ 40288 h 692343"/>
                <a:gd name="connsiteX7" fmla="*/ 1083876 w 1121596"/>
                <a:gd name="connsiteY7" fmla="*/ 27775 h 692343"/>
                <a:gd name="connsiteX8" fmla="*/ 0 w 1121596"/>
                <a:gd name="connsiteY8" fmla="*/ 0 h 692343"/>
                <a:gd name="connsiteX9" fmla="*/ 1121596 w 1121596"/>
                <a:gd name="connsiteY9" fmla="*/ 0 h 692343"/>
                <a:gd name="connsiteX10" fmla="*/ 1121596 w 1121596"/>
                <a:gd name="connsiteY10" fmla="*/ 692343 h 692343"/>
                <a:gd name="connsiteX11" fmla="*/ 0 w 1121596"/>
                <a:gd name="connsiteY11" fmla="*/ 692343 h 69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1596" h="692343">
                  <a:moveTo>
                    <a:pt x="37715" y="27775"/>
                  </a:moveTo>
                  <a:cubicBezTo>
                    <a:pt x="30804" y="27775"/>
                    <a:pt x="25202" y="33377"/>
                    <a:pt x="25202" y="40288"/>
                  </a:cubicBezTo>
                  <a:lnTo>
                    <a:pt x="25202" y="652056"/>
                  </a:lnTo>
                  <a:cubicBezTo>
                    <a:pt x="25202" y="658967"/>
                    <a:pt x="30804" y="664569"/>
                    <a:pt x="37715" y="664569"/>
                  </a:cubicBezTo>
                  <a:lnTo>
                    <a:pt x="1083876" y="664569"/>
                  </a:lnTo>
                  <a:cubicBezTo>
                    <a:pt x="1090787" y="664569"/>
                    <a:pt x="1096389" y="658967"/>
                    <a:pt x="1096389" y="652056"/>
                  </a:cubicBezTo>
                  <a:lnTo>
                    <a:pt x="1096389" y="40288"/>
                  </a:lnTo>
                  <a:cubicBezTo>
                    <a:pt x="1096389" y="33377"/>
                    <a:pt x="1090787" y="27775"/>
                    <a:pt x="1083876" y="27775"/>
                  </a:cubicBezTo>
                  <a:close/>
                  <a:moveTo>
                    <a:pt x="0" y="0"/>
                  </a:moveTo>
                  <a:lnTo>
                    <a:pt x="1121596" y="0"/>
                  </a:lnTo>
                  <a:lnTo>
                    <a:pt x="1121596" y="692343"/>
                  </a:lnTo>
                  <a:lnTo>
                    <a:pt x="0" y="692343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932418">
                <a:defRPr/>
              </a:pPr>
              <a:endParaRPr lang="en-US" sz="1836" b="1" kern="0" dirty="0">
                <a:solidFill>
                  <a:prstClr val="white"/>
                </a:solidFill>
                <a:latin typeface="Segoe UI Semibold" charset="0"/>
                <a:ea typeface="Segoe UI Semibold" charset="0"/>
                <a:cs typeface="Segoe UI Semibold" charset="0"/>
              </a:endParaRPr>
            </a:p>
          </p:txBody>
        </p:sp>
        <p:sp>
          <p:nvSpPr>
            <p:cNvPr id="55" name="Multiply 135"/>
            <p:cNvSpPr/>
            <p:nvPr/>
          </p:nvSpPr>
          <p:spPr>
            <a:xfrm>
              <a:off x="10386951" y="3526057"/>
              <a:ext cx="44457" cy="44457"/>
            </a:xfrm>
            <a:prstGeom prst="mathMultiply">
              <a:avLst>
                <a:gd name="adj1" fmla="val 1262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418">
                <a:defRPr/>
              </a:pPr>
              <a:endParaRPr lang="en-US" sz="1836" kern="0" dirty="0">
                <a:solidFill>
                  <a:srgbClr val="FFFFFF"/>
                </a:solidFill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10341773" y="3536496"/>
              <a:ext cx="29024" cy="23581"/>
            </a:xfrm>
            <a:prstGeom prst="rect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418">
                <a:defRPr/>
              </a:pPr>
              <a:endParaRPr lang="en-US" sz="1836" kern="0" dirty="0">
                <a:solidFill>
                  <a:srgbClr val="FFFFFF"/>
                </a:solidFill>
              </a:endParaRP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10292165" y="3553709"/>
              <a:ext cx="29024" cy="78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418">
                <a:defRPr/>
              </a:pPr>
              <a:endParaRPr lang="en-US" sz="1836" kern="0" dirty="0">
                <a:solidFill>
                  <a:srgbClr val="FFFFFF"/>
                </a:solidFill>
              </a:endParaRPr>
            </a:p>
          </p:txBody>
        </p:sp>
        <p:grpSp>
          <p:nvGrpSpPr>
            <p:cNvPr id="58" name="Group 57"/>
            <p:cNvGrpSpPr/>
            <p:nvPr/>
          </p:nvGrpSpPr>
          <p:grpSpPr>
            <a:xfrm>
              <a:off x="9400274" y="3615731"/>
              <a:ext cx="987498" cy="599874"/>
              <a:chOff x="9201064" y="4160393"/>
              <a:chExt cx="2461823" cy="1495471"/>
            </a:xfrm>
          </p:grpSpPr>
          <p:sp>
            <p:nvSpPr>
              <p:cNvPr id="59" name="Rectangle 58"/>
              <p:cNvSpPr/>
              <p:nvPr/>
            </p:nvSpPr>
            <p:spPr>
              <a:xfrm>
                <a:off x="9201064" y="4160393"/>
                <a:ext cx="1467144" cy="1495471"/>
              </a:xfrm>
              <a:prstGeom prst="rect">
                <a:avLst/>
              </a:prstGeom>
            </p:spPr>
            <p:txBody>
              <a:bodyPr wrap="none" lIns="45713">
                <a:spAutoFit/>
              </a:bodyPr>
              <a:lstStyle/>
              <a:p>
                <a:pPr defTabSz="914225">
                  <a:spcAft>
                    <a:spcPts val="200"/>
                  </a:spcAft>
                  <a:defRPr/>
                </a:pPr>
                <a:r>
                  <a:rPr lang="en-US" sz="900" kern="0" dirty="0">
                    <a:solidFill>
                      <a:prstClr val="white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T-SQL</a:t>
                </a:r>
              </a:p>
              <a:p>
                <a:pPr defTabSz="914225">
                  <a:spcAft>
                    <a:spcPts val="200"/>
                  </a:spcAft>
                  <a:defRPr/>
                </a:pPr>
                <a:r>
                  <a:rPr lang="en-US" sz="900" kern="0" dirty="0">
                    <a:solidFill>
                      <a:prstClr val="white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Java</a:t>
                </a:r>
              </a:p>
              <a:p>
                <a:pPr defTabSz="914225">
                  <a:spcAft>
                    <a:spcPts val="200"/>
                  </a:spcAft>
                  <a:defRPr/>
                </a:pPr>
                <a:r>
                  <a:rPr lang="en-US" sz="900" kern="0" dirty="0">
                    <a:solidFill>
                      <a:prstClr val="white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C/C++</a:t>
                </a:r>
              </a:p>
              <a:p>
                <a:pPr defTabSz="914225">
                  <a:spcAft>
                    <a:spcPts val="200"/>
                  </a:spcAft>
                  <a:defRPr/>
                </a:pPr>
                <a:r>
                  <a:rPr lang="en-US" sz="900" kern="0" dirty="0">
                    <a:solidFill>
                      <a:prstClr val="white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C#/VB.NET</a:t>
                </a:r>
              </a:p>
            </p:txBody>
          </p:sp>
          <p:sp>
            <p:nvSpPr>
              <p:cNvPr id="60" name="Rectangle 59"/>
              <p:cNvSpPr/>
              <p:nvPr/>
            </p:nvSpPr>
            <p:spPr>
              <a:xfrm>
                <a:off x="10655934" y="4160393"/>
                <a:ext cx="1006953" cy="1473218"/>
              </a:xfrm>
              <a:prstGeom prst="rect">
                <a:avLst/>
              </a:prstGeom>
            </p:spPr>
            <p:txBody>
              <a:bodyPr wrap="none" lIns="45713">
                <a:spAutoFit/>
              </a:bodyPr>
              <a:lstStyle/>
              <a:p>
                <a:pPr defTabSz="914225">
                  <a:spcAft>
                    <a:spcPts val="200"/>
                  </a:spcAft>
                  <a:defRPr/>
                </a:pPr>
                <a:r>
                  <a:rPr lang="en-US" sz="900" kern="0" dirty="0">
                    <a:solidFill>
                      <a:prstClr val="white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PHP</a:t>
                </a:r>
              </a:p>
              <a:p>
                <a:pPr defTabSz="914225">
                  <a:spcAft>
                    <a:spcPts val="200"/>
                  </a:spcAft>
                  <a:defRPr/>
                </a:pPr>
                <a:r>
                  <a:rPr lang="en-US" sz="900" kern="0" dirty="0">
                    <a:solidFill>
                      <a:prstClr val="white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Node.js</a:t>
                </a:r>
              </a:p>
              <a:p>
                <a:pPr defTabSz="914225">
                  <a:spcAft>
                    <a:spcPts val="200"/>
                  </a:spcAft>
                  <a:defRPr/>
                </a:pPr>
                <a:r>
                  <a:rPr lang="en-US" sz="900" kern="0" dirty="0">
                    <a:solidFill>
                      <a:prstClr val="white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Python</a:t>
                </a:r>
              </a:p>
              <a:p>
                <a:pPr defTabSz="914225">
                  <a:spcAft>
                    <a:spcPts val="200"/>
                  </a:spcAft>
                  <a:defRPr/>
                </a:pPr>
                <a:r>
                  <a:rPr lang="en-US" sz="900" kern="0" dirty="0">
                    <a:solidFill>
                      <a:prstClr val="white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uby</a:t>
                </a:r>
              </a:p>
            </p:txBody>
          </p:sp>
        </p:grpSp>
      </p:grpSp>
      <p:sp>
        <p:nvSpPr>
          <p:cNvPr id="4" name="Rectangle 3"/>
          <p:cNvSpPr/>
          <p:nvPr/>
        </p:nvSpPr>
        <p:spPr>
          <a:xfrm>
            <a:off x="5203824" y="1258018"/>
            <a:ext cx="3491852" cy="46468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9517" lvl="1" algn="r" defTabSz="914225">
              <a:spcAft>
                <a:spcPts val="6598"/>
              </a:spcAft>
            </a:pPr>
            <a:r>
              <a:rPr lang="en-US" b="1" dirty="0">
                <a:solidFill>
                  <a:prstClr val="white"/>
                </a:solidFill>
              </a:rPr>
              <a:t>Heterogenous </a:t>
            </a:r>
            <a:br>
              <a:rPr lang="en-US" b="1" dirty="0">
                <a:solidFill>
                  <a:prstClr val="white"/>
                </a:solidFill>
              </a:rPr>
            </a:br>
            <a:r>
              <a:rPr lang="en-US" b="1" dirty="0">
                <a:solidFill>
                  <a:prstClr val="white"/>
                </a:solidFill>
              </a:rPr>
              <a:t>environments</a:t>
            </a:r>
          </a:p>
          <a:p>
            <a:pPr marL="109517" lvl="1" algn="r" defTabSz="914225">
              <a:spcAft>
                <a:spcPts val="6598"/>
              </a:spcAft>
            </a:pPr>
            <a:r>
              <a:rPr lang="en-US" b="1" dirty="0">
                <a:solidFill>
                  <a:prstClr val="white"/>
                </a:solidFill>
              </a:rPr>
              <a:t>Multiple data types</a:t>
            </a:r>
          </a:p>
          <a:p>
            <a:pPr marL="109517" lvl="1" algn="r" defTabSz="914225">
              <a:spcAft>
                <a:spcPts val="6598"/>
              </a:spcAft>
            </a:pPr>
            <a:r>
              <a:rPr lang="en-US" b="1" dirty="0">
                <a:solidFill>
                  <a:prstClr val="white"/>
                </a:solidFill>
              </a:rPr>
              <a:t>Different</a:t>
            </a:r>
            <a:br>
              <a:rPr lang="en-US" b="1" dirty="0">
                <a:solidFill>
                  <a:prstClr val="white"/>
                </a:solidFill>
              </a:rPr>
            </a:br>
            <a:r>
              <a:rPr lang="en-US" b="1" dirty="0">
                <a:solidFill>
                  <a:prstClr val="white"/>
                </a:solidFill>
              </a:rPr>
              <a:t>development languages</a:t>
            </a:r>
          </a:p>
          <a:p>
            <a:pPr marL="109517" lvl="1" algn="r" defTabSz="914225">
              <a:spcAft>
                <a:spcPts val="5998"/>
              </a:spcAft>
            </a:pPr>
            <a:r>
              <a:rPr lang="en-US" b="1" dirty="0">
                <a:solidFill>
                  <a:prstClr val="white"/>
                </a:solidFill>
              </a:rPr>
              <a:t>On-premises, cloud, </a:t>
            </a:r>
            <a:br>
              <a:rPr lang="en-US" b="1" dirty="0">
                <a:solidFill>
                  <a:prstClr val="white"/>
                </a:solidFill>
              </a:rPr>
            </a:br>
            <a:r>
              <a:rPr lang="en-US" b="1" dirty="0">
                <a:solidFill>
                  <a:prstClr val="white"/>
                </a:solidFill>
              </a:rPr>
              <a:t>and hybrid environments</a:t>
            </a:r>
          </a:p>
        </p:txBody>
      </p:sp>
      <p:cxnSp>
        <p:nvCxnSpPr>
          <p:cNvPr id="62" name="Straight Connector 61"/>
          <p:cNvCxnSpPr/>
          <p:nvPr/>
        </p:nvCxnSpPr>
        <p:spPr>
          <a:xfrm>
            <a:off x="8883538" y="949478"/>
            <a:ext cx="0" cy="4999554"/>
          </a:xfrm>
          <a:prstGeom prst="line">
            <a:avLst/>
          </a:prstGeom>
          <a:ln w="6350">
            <a:solidFill>
              <a:srgbClr val="0078D7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Group 60"/>
          <p:cNvGrpSpPr/>
          <p:nvPr/>
        </p:nvGrpSpPr>
        <p:grpSpPr>
          <a:xfrm>
            <a:off x="9178479" y="1140466"/>
            <a:ext cx="571131" cy="680664"/>
            <a:chOff x="1811338" y="2714625"/>
            <a:chExt cx="2897187" cy="3452813"/>
          </a:xfrm>
        </p:grpSpPr>
        <p:sp>
          <p:nvSpPr>
            <p:cNvPr id="63" name="Freeform 13"/>
            <p:cNvSpPr>
              <a:spLocks/>
            </p:cNvSpPr>
            <p:nvPr/>
          </p:nvSpPr>
          <p:spPr bwMode="auto">
            <a:xfrm>
              <a:off x="2298700" y="3394075"/>
              <a:ext cx="1931988" cy="2565400"/>
            </a:xfrm>
            <a:custGeom>
              <a:avLst/>
              <a:gdLst>
                <a:gd name="T0" fmla="*/ 568 w 668"/>
                <a:gd name="T1" fmla="*/ 180 h 887"/>
                <a:gd name="T2" fmla="*/ 609 w 668"/>
                <a:gd name="T3" fmla="*/ 265 h 887"/>
                <a:gd name="T4" fmla="*/ 660 w 668"/>
                <a:gd name="T5" fmla="*/ 437 h 887"/>
                <a:gd name="T6" fmla="*/ 646 w 668"/>
                <a:gd name="T7" fmla="*/ 615 h 887"/>
                <a:gd name="T8" fmla="*/ 536 w 668"/>
                <a:gd name="T9" fmla="*/ 784 h 887"/>
                <a:gd name="T10" fmla="*/ 324 w 668"/>
                <a:gd name="T11" fmla="*/ 885 h 887"/>
                <a:gd name="T12" fmla="*/ 173 w 668"/>
                <a:gd name="T13" fmla="*/ 848 h 887"/>
                <a:gd name="T14" fmla="*/ 71 w 668"/>
                <a:gd name="T15" fmla="*/ 767 h 887"/>
                <a:gd name="T16" fmla="*/ 12 w 668"/>
                <a:gd name="T17" fmla="*/ 650 h 887"/>
                <a:gd name="T18" fmla="*/ 23 w 668"/>
                <a:gd name="T19" fmla="*/ 491 h 887"/>
                <a:gd name="T20" fmla="*/ 69 w 668"/>
                <a:gd name="T21" fmla="*/ 384 h 887"/>
                <a:gd name="T22" fmla="*/ 112 w 668"/>
                <a:gd name="T23" fmla="*/ 265 h 887"/>
                <a:gd name="T24" fmla="*/ 171 w 668"/>
                <a:gd name="T25" fmla="*/ 167 h 887"/>
                <a:gd name="T26" fmla="*/ 189 w 668"/>
                <a:gd name="T27" fmla="*/ 101 h 887"/>
                <a:gd name="T28" fmla="*/ 218 w 668"/>
                <a:gd name="T29" fmla="*/ 39 h 887"/>
                <a:gd name="T30" fmla="*/ 290 w 668"/>
                <a:gd name="T31" fmla="*/ 4 h 887"/>
                <a:gd name="T32" fmla="*/ 372 w 668"/>
                <a:gd name="T33" fmla="*/ 11 h 887"/>
                <a:gd name="T34" fmla="*/ 435 w 668"/>
                <a:gd name="T35" fmla="*/ 29 h 887"/>
                <a:gd name="T36" fmla="*/ 486 w 668"/>
                <a:gd name="T37" fmla="*/ 54 h 887"/>
                <a:gd name="T38" fmla="*/ 535 w 668"/>
                <a:gd name="T39" fmla="*/ 111 h 887"/>
                <a:gd name="T40" fmla="*/ 568 w 668"/>
                <a:gd name="T41" fmla="*/ 180 h 8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68" h="887">
                  <a:moveTo>
                    <a:pt x="568" y="180"/>
                  </a:moveTo>
                  <a:cubicBezTo>
                    <a:pt x="581" y="209"/>
                    <a:pt x="596" y="237"/>
                    <a:pt x="609" y="265"/>
                  </a:cubicBezTo>
                  <a:cubicBezTo>
                    <a:pt x="633" y="320"/>
                    <a:pt x="652" y="377"/>
                    <a:pt x="660" y="437"/>
                  </a:cubicBezTo>
                  <a:cubicBezTo>
                    <a:pt x="668" y="496"/>
                    <a:pt x="665" y="558"/>
                    <a:pt x="646" y="615"/>
                  </a:cubicBezTo>
                  <a:cubicBezTo>
                    <a:pt x="625" y="679"/>
                    <a:pt x="585" y="737"/>
                    <a:pt x="536" y="784"/>
                  </a:cubicBezTo>
                  <a:cubicBezTo>
                    <a:pt x="478" y="839"/>
                    <a:pt x="404" y="882"/>
                    <a:pt x="324" y="885"/>
                  </a:cubicBezTo>
                  <a:cubicBezTo>
                    <a:pt x="272" y="887"/>
                    <a:pt x="220" y="872"/>
                    <a:pt x="173" y="848"/>
                  </a:cubicBezTo>
                  <a:cubicBezTo>
                    <a:pt x="134" y="828"/>
                    <a:pt x="99" y="800"/>
                    <a:pt x="71" y="767"/>
                  </a:cubicBezTo>
                  <a:cubicBezTo>
                    <a:pt x="42" y="733"/>
                    <a:pt x="21" y="693"/>
                    <a:pt x="12" y="650"/>
                  </a:cubicBezTo>
                  <a:cubicBezTo>
                    <a:pt x="0" y="598"/>
                    <a:pt x="5" y="542"/>
                    <a:pt x="23" y="491"/>
                  </a:cubicBezTo>
                  <a:cubicBezTo>
                    <a:pt x="36" y="454"/>
                    <a:pt x="55" y="420"/>
                    <a:pt x="69" y="384"/>
                  </a:cubicBezTo>
                  <a:cubicBezTo>
                    <a:pt x="84" y="345"/>
                    <a:pt x="92" y="302"/>
                    <a:pt x="112" y="265"/>
                  </a:cubicBezTo>
                  <a:cubicBezTo>
                    <a:pt x="130" y="231"/>
                    <a:pt x="157" y="202"/>
                    <a:pt x="171" y="167"/>
                  </a:cubicBezTo>
                  <a:cubicBezTo>
                    <a:pt x="180" y="146"/>
                    <a:pt x="184" y="123"/>
                    <a:pt x="189" y="101"/>
                  </a:cubicBezTo>
                  <a:cubicBezTo>
                    <a:pt x="195" y="78"/>
                    <a:pt x="202" y="56"/>
                    <a:pt x="218" y="39"/>
                  </a:cubicBezTo>
                  <a:cubicBezTo>
                    <a:pt x="236" y="18"/>
                    <a:pt x="263" y="7"/>
                    <a:pt x="290" y="4"/>
                  </a:cubicBezTo>
                  <a:cubicBezTo>
                    <a:pt x="318" y="0"/>
                    <a:pt x="345" y="5"/>
                    <a:pt x="372" y="11"/>
                  </a:cubicBezTo>
                  <a:cubicBezTo>
                    <a:pt x="394" y="16"/>
                    <a:pt x="415" y="22"/>
                    <a:pt x="435" y="29"/>
                  </a:cubicBezTo>
                  <a:cubicBezTo>
                    <a:pt x="453" y="35"/>
                    <a:pt x="471" y="43"/>
                    <a:pt x="486" y="54"/>
                  </a:cubicBezTo>
                  <a:cubicBezTo>
                    <a:pt x="507" y="68"/>
                    <a:pt x="523" y="89"/>
                    <a:pt x="535" y="111"/>
                  </a:cubicBezTo>
                  <a:cubicBezTo>
                    <a:pt x="548" y="134"/>
                    <a:pt x="557" y="157"/>
                    <a:pt x="568" y="180"/>
                  </a:cubicBezTo>
                  <a:close/>
                </a:path>
              </a:pathLst>
            </a:custGeom>
            <a:solidFill>
              <a:srgbClr val="0973D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>
              <a:off x="2770188" y="2714625"/>
              <a:ext cx="1069975" cy="1350963"/>
            </a:xfrm>
            <a:custGeom>
              <a:avLst/>
              <a:gdLst>
                <a:gd name="T0" fmla="*/ 7 w 370"/>
                <a:gd name="T1" fmla="*/ 356 h 467"/>
                <a:gd name="T2" fmla="*/ 4 w 370"/>
                <a:gd name="T3" fmla="*/ 262 h 467"/>
                <a:gd name="T4" fmla="*/ 1 w 370"/>
                <a:gd name="T5" fmla="*/ 173 h 467"/>
                <a:gd name="T6" fmla="*/ 21 w 370"/>
                <a:gd name="T7" fmla="*/ 84 h 467"/>
                <a:gd name="T8" fmla="*/ 83 w 370"/>
                <a:gd name="T9" fmla="*/ 19 h 467"/>
                <a:gd name="T10" fmla="*/ 166 w 370"/>
                <a:gd name="T11" fmla="*/ 0 h 467"/>
                <a:gd name="T12" fmla="*/ 276 w 370"/>
                <a:gd name="T13" fmla="*/ 35 h 467"/>
                <a:gd name="T14" fmla="*/ 325 w 370"/>
                <a:gd name="T15" fmla="*/ 89 h 467"/>
                <a:gd name="T16" fmla="*/ 350 w 370"/>
                <a:gd name="T17" fmla="*/ 145 h 467"/>
                <a:gd name="T18" fmla="*/ 361 w 370"/>
                <a:gd name="T19" fmla="*/ 273 h 467"/>
                <a:gd name="T20" fmla="*/ 367 w 370"/>
                <a:gd name="T21" fmla="*/ 394 h 467"/>
                <a:gd name="T22" fmla="*/ 362 w 370"/>
                <a:gd name="T23" fmla="*/ 419 h 467"/>
                <a:gd name="T24" fmla="*/ 344 w 370"/>
                <a:gd name="T25" fmla="*/ 437 h 467"/>
                <a:gd name="T26" fmla="*/ 320 w 370"/>
                <a:gd name="T27" fmla="*/ 445 h 467"/>
                <a:gd name="T28" fmla="*/ 269 w 370"/>
                <a:gd name="T29" fmla="*/ 448 h 467"/>
                <a:gd name="T30" fmla="*/ 196 w 370"/>
                <a:gd name="T31" fmla="*/ 463 h 467"/>
                <a:gd name="T32" fmla="*/ 107 w 370"/>
                <a:gd name="T33" fmla="*/ 463 h 467"/>
                <a:gd name="T34" fmla="*/ 72 w 370"/>
                <a:gd name="T35" fmla="*/ 461 h 467"/>
                <a:gd name="T36" fmla="*/ 38 w 370"/>
                <a:gd name="T37" fmla="*/ 451 h 467"/>
                <a:gd name="T38" fmla="*/ 21 w 370"/>
                <a:gd name="T39" fmla="*/ 438 h 467"/>
                <a:gd name="T40" fmla="*/ 11 w 370"/>
                <a:gd name="T41" fmla="*/ 418 h 467"/>
                <a:gd name="T42" fmla="*/ 9 w 370"/>
                <a:gd name="T43" fmla="*/ 386 h 467"/>
                <a:gd name="T44" fmla="*/ 7 w 370"/>
                <a:gd name="T45" fmla="*/ 356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70" h="467">
                  <a:moveTo>
                    <a:pt x="7" y="356"/>
                  </a:moveTo>
                  <a:cubicBezTo>
                    <a:pt x="5" y="325"/>
                    <a:pt x="5" y="294"/>
                    <a:pt x="4" y="262"/>
                  </a:cubicBezTo>
                  <a:cubicBezTo>
                    <a:pt x="3" y="233"/>
                    <a:pt x="0" y="203"/>
                    <a:pt x="1" y="173"/>
                  </a:cubicBezTo>
                  <a:cubicBezTo>
                    <a:pt x="2" y="142"/>
                    <a:pt x="7" y="112"/>
                    <a:pt x="21" y="84"/>
                  </a:cubicBezTo>
                  <a:cubicBezTo>
                    <a:pt x="35" y="57"/>
                    <a:pt x="56" y="34"/>
                    <a:pt x="83" y="19"/>
                  </a:cubicBezTo>
                  <a:cubicBezTo>
                    <a:pt x="109" y="6"/>
                    <a:pt x="138" y="0"/>
                    <a:pt x="166" y="0"/>
                  </a:cubicBezTo>
                  <a:cubicBezTo>
                    <a:pt x="205" y="1"/>
                    <a:pt x="244" y="12"/>
                    <a:pt x="276" y="35"/>
                  </a:cubicBezTo>
                  <a:cubicBezTo>
                    <a:pt x="295" y="50"/>
                    <a:pt x="312" y="68"/>
                    <a:pt x="325" y="89"/>
                  </a:cubicBezTo>
                  <a:cubicBezTo>
                    <a:pt x="336" y="106"/>
                    <a:pt x="345" y="125"/>
                    <a:pt x="350" y="145"/>
                  </a:cubicBezTo>
                  <a:cubicBezTo>
                    <a:pt x="361" y="186"/>
                    <a:pt x="359" y="230"/>
                    <a:pt x="361" y="273"/>
                  </a:cubicBezTo>
                  <a:cubicBezTo>
                    <a:pt x="363" y="313"/>
                    <a:pt x="370" y="353"/>
                    <a:pt x="367" y="394"/>
                  </a:cubicBezTo>
                  <a:cubicBezTo>
                    <a:pt x="367" y="402"/>
                    <a:pt x="366" y="411"/>
                    <a:pt x="362" y="419"/>
                  </a:cubicBezTo>
                  <a:cubicBezTo>
                    <a:pt x="358" y="427"/>
                    <a:pt x="352" y="433"/>
                    <a:pt x="344" y="437"/>
                  </a:cubicBezTo>
                  <a:cubicBezTo>
                    <a:pt x="337" y="441"/>
                    <a:pt x="329" y="444"/>
                    <a:pt x="320" y="445"/>
                  </a:cubicBezTo>
                  <a:cubicBezTo>
                    <a:pt x="303" y="448"/>
                    <a:pt x="286" y="446"/>
                    <a:pt x="269" y="448"/>
                  </a:cubicBezTo>
                  <a:cubicBezTo>
                    <a:pt x="244" y="450"/>
                    <a:pt x="221" y="459"/>
                    <a:pt x="196" y="463"/>
                  </a:cubicBezTo>
                  <a:cubicBezTo>
                    <a:pt x="167" y="467"/>
                    <a:pt x="137" y="464"/>
                    <a:pt x="107" y="463"/>
                  </a:cubicBezTo>
                  <a:cubicBezTo>
                    <a:pt x="96" y="463"/>
                    <a:pt x="84" y="462"/>
                    <a:pt x="72" y="461"/>
                  </a:cubicBezTo>
                  <a:cubicBezTo>
                    <a:pt x="60" y="459"/>
                    <a:pt x="48" y="457"/>
                    <a:pt x="38" y="451"/>
                  </a:cubicBezTo>
                  <a:cubicBezTo>
                    <a:pt x="32" y="448"/>
                    <a:pt x="26" y="443"/>
                    <a:pt x="21" y="438"/>
                  </a:cubicBezTo>
                  <a:cubicBezTo>
                    <a:pt x="16" y="432"/>
                    <a:pt x="12" y="426"/>
                    <a:pt x="11" y="418"/>
                  </a:cubicBezTo>
                  <a:cubicBezTo>
                    <a:pt x="8" y="408"/>
                    <a:pt x="9" y="397"/>
                    <a:pt x="9" y="386"/>
                  </a:cubicBezTo>
                  <a:cubicBezTo>
                    <a:pt x="9" y="376"/>
                    <a:pt x="8" y="366"/>
                    <a:pt x="7" y="356"/>
                  </a:cubicBezTo>
                  <a:close/>
                </a:path>
              </a:pathLst>
            </a:custGeom>
            <a:solidFill>
              <a:srgbClr val="0973D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auto">
            <a:xfrm>
              <a:off x="3165475" y="5424488"/>
              <a:ext cx="912813" cy="633413"/>
            </a:xfrm>
            <a:custGeom>
              <a:avLst/>
              <a:gdLst>
                <a:gd name="T0" fmla="*/ 38 w 315"/>
                <a:gd name="T1" fmla="*/ 184 h 219"/>
                <a:gd name="T2" fmla="*/ 104 w 315"/>
                <a:gd name="T3" fmla="*/ 190 h 219"/>
                <a:gd name="T4" fmla="*/ 161 w 315"/>
                <a:gd name="T5" fmla="*/ 202 h 219"/>
                <a:gd name="T6" fmla="*/ 250 w 315"/>
                <a:gd name="T7" fmla="*/ 219 h 219"/>
                <a:gd name="T8" fmla="*/ 274 w 315"/>
                <a:gd name="T9" fmla="*/ 217 h 219"/>
                <a:gd name="T10" fmla="*/ 296 w 315"/>
                <a:gd name="T11" fmla="*/ 207 h 219"/>
                <a:gd name="T12" fmla="*/ 313 w 315"/>
                <a:gd name="T13" fmla="*/ 177 h 219"/>
                <a:gd name="T14" fmla="*/ 310 w 315"/>
                <a:gd name="T15" fmla="*/ 141 h 219"/>
                <a:gd name="T16" fmla="*/ 277 w 315"/>
                <a:gd name="T17" fmla="*/ 79 h 219"/>
                <a:gd name="T18" fmla="*/ 256 w 315"/>
                <a:gd name="T19" fmla="*/ 43 h 219"/>
                <a:gd name="T20" fmla="*/ 228 w 315"/>
                <a:gd name="T21" fmla="*/ 14 h 219"/>
                <a:gd name="T22" fmla="*/ 174 w 315"/>
                <a:gd name="T23" fmla="*/ 2 h 219"/>
                <a:gd name="T24" fmla="*/ 120 w 315"/>
                <a:gd name="T25" fmla="*/ 20 h 219"/>
                <a:gd name="T26" fmla="*/ 62 w 315"/>
                <a:gd name="T27" fmla="*/ 72 h 219"/>
                <a:gd name="T28" fmla="*/ 50 w 315"/>
                <a:gd name="T29" fmla="*/ 97 h 219"/>
                <a:gd name="T30" fmla="*/ 35 w 315"/>
                <a:gd name="T31" fmla="*/ 120 h 219"/>
                <a:gd name="T32" fmla="*/ 12 w 315"/>
                <a:gd name="T33" fmla="*/ 139 h 219"/>
                <a:gd name="T34" fmla="*/ 3 w 315"/>
                <a:gd name="T35" fmla="*/ 152 h 219"/>
                <a:gd name="T36" fmla="*/ 2 w 315"/>
                <a:gd name="T37" fmla="*/ 167 h 219"/>
                <a:gd name="T38" fmla="*/ 8 w 315"/>
                <a:gd name="T39" fmla="*/ 175 h 219"/>
                <a:gd name="T40" fmla="*/ 17 w 315"/>
                <a:gd name="T41" fmla="*/ 181 h 219"/>
                <a:gd name="T42" fmla="*/ 38 w 315"/>
                <a:gd name="T43" fmla="*/ 184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15" h="219">
                  <a:moveTo>
                    <a:pt x="38" y="184"/>
                  </a:moveTo>
                  <a:cubicBezTo>
                    <a:pt x="60" y="185"/>
                    <a:pt x="82" y="187"/>
                    <a:pt x="104" y="190"/>
                  </a:cubicBezTo>
                  <a:cubicBezTo>
                    <a:pt x="123" y="193"/>
                    <a:pt x="142" y="197"/>
                    <a:pt x="161" y="202"/>
                  </a:cubicBezTo>
                  <a:cubicBezTo>
                    <a:pt x="190" y="209"/>
                    <a:pt x="220" y="218"/>
                    <a:pt x="250" y="219"/>
                  </a:cubicBezTo>
                  <a:cubicBezTo>
                    <a:pt x="258" y="219"/>
                    <a:pt x="266" y="219"/>
                    <a:pt x="274" y="217"/>
                  </a:cubicBezTo>
                  <a:cubicBezTo>
                    <a:pt x="282" y="215"/>
                    <a:pt x="289" y="212"/>
                    <a:pt x="296" y="207"/>
                  </a:cubicBezTo>
                  <a:cubicBezTo>
                    <a:pt x="305" y="200"/>
                    <a:pt x="311" y="188"/>
                    <a:pt x="313" y="177"/>
                  </a:cubicBezTo>
                  <a:cubicBezTo>
                    <a:pt x="315" y="165"/>
                    <a:pt x="314" y="153"/>
                    <a:pt x="310" y="141"/>
                  </a:cubicBezTo>
                  <a:cubicBezTo>
                    <a:pt x="304" y="119"/>
                    <a:pt x="289" y="99"/>
                    <a:pt x="277" y="79"/>
                  </a:cubicBezTo>
                  <a:cubicBezTo>
                    <a:pt x="270" y="67"/>
                    <a:pt x="264" y="55"/>
                    <a:pt x="256" y="43"/>
                  </a:cubicBezTo>
                  <a:cubicBezTo>
                    <a:pt x="248" y="32"/>
                    <a:pt x="239" y="21"/>
                    <a:pt x="228" y="14"/>
                  </a:cubicBezTo>
                  <a:cubicBezTo>
                    <a:pt x="212" y="4"/>
                    <a:pt x="192" y="0"/>
                    <a:pt x="174" y="2"/>
                  </a:cubicBezTo>
                  <a:cubicBezTo>
                    <a:pt x="155" y="4"/>
                    <a:pt x="137" y="11"/>
                    <a:pt x="120" y="20"/>
                  </a:cubicBezTo>
                  <a:cubicBezTo>
                    <a:pt x="96" y="32"/>
                    <a:pt x="74" y="48"/>
                    <a:pt x="62" y="72"/>
                  </a:cubicBezTo>
                  <a:cubicBezTo>
                    <a:pt x="57" y="80"/>
                    <a:pt x="54" y="88"/>
                    <a:pt x="50" y="97"/>
                  </a:cubicBezTo>
                  <a:cubicBezTo>
                    <a:pt x="46" y="105"/>
                    <a:pt x="42" y="113"/>
                    <a:pt x="35" y="120"/>
                  </a:cubicBezTo>
                  <a:cubicBezTo>
                    <a:pt x="28" y="127"/>
                    <a:pt x="19" y="132"/>
                    <a:pt x="12" y="139"/>
                  </a:cubicBezTo>
                  <a:cubicBezTo>
                    <a:pt x="8" y="143"/>
                    <a:pt x="5" y="147"/>
                    <a:pt x="3" y="152"/>
                  </a:cubicBezTo>
                  <a:cubicBezTo>
                    <a:pt x="1" y="157"/>
                    <a:pt x="0" y="162"/>
                    <a:pt x="2" y="167"/>
                  </a:cubicBezTo>
                  <a:cubicBezTo>
                    <a:pt x="3" y="170"/>
                    <a:pt x="5" y="173"/>
                    <a:pt x="8" y="175"/>
                  </a:cubicBezTo>
                  <a:cubicBezTo>
                    <a:pt x="11" y="178"/>
                    <a:pt x="14" y="179"/>
                    <a:pt x="17" y="181"/>
                  </a:cubicBezTo>
                  <a:cubicBezTo>
                    <a:pt x="24" y="183"/>
                    <a:pt x="31" y="183"/>
                    <a:pt x="38" y="184"/>
                  </a:cubicBezTo>
                  <a:close/>
                </a:path>
              </a:pathLst>
            </a:custGeom>
            <a:solidFill>
              <a:srgbClr val="0973D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66" name="Freeform 16"/>
            <p:cNvSpPr>
              <a:spLocks/>
            </p:cNvSpPr>
            <p:nvPr/>
          </p:nvSpPr>
          <p:spPr bwMode="auto">
            <a:xfrm>
              <a:off x="2344738" y="5424488"/>
              <a:ext cx="855663" cy="633413"/>
            </a:xfrm>
            <a:custGeom>
              <a:avLst/>
              <a:gdLst>
                <a:gd name="T0" fmla="*/ 257 w 296"/>
                <a:gd name="T1" fmla="*/ 182 h 219"/>
                <a:gd name="T2" fmla="*/ 202 w 296"/>
                <a:gd name="T3" fmla="*/ 190 h 219"/>
                <a:gd name="T4" fmla="*/ 151 w 296"/>
                <a:gd name="T5" fmla="*/ 202 h 219"/>
                <a:gd name="T6" fmla="*/ 64 w 296"/>
                <a:gd name="T7" fmla="*/ 219 h 219"/>
                <a:gd name="T8" fmla="*/ 41 w 296"/>
                <a:gd name="T9" fmla="*/ 217 h 219"/>
                <a:gd name="T10" fmla="*/ 20 w 296"/>
                <a:gd name="T11" fmla="*/ 207 h 219"/>
                <a:gd name="T12" fmla="*/ 3 w 296"/>
                <a:gd name="T13" fmla="*/ 177 h 219"/>
                <a:gd name="T14" fmla="*/ 5 w 296"/>
                <a:gd name="T15" fmla="*/ 142 h 219"/>
                <a:gd name="T16" fmla="*/ 38 w 296"/>
                <a:gd name="T17" fmla="*/ 79 h 219"/>
                <a:gd name="T18" fmla="*/ 58 w 296"/>
                <a:gd name="T19" fmla="*/ 43 h 219"/>
                <a:gd name="T20" fmla="*/ 86 w 296"/>
                <a:gd name="T21" fmla="*/ 14 h 219"/>
                <a:gd name="T22" fmla="*/ 139 w 296"/>
                <a:gd name="T23" fmla="*/ 2 h 219"/>
                <a:gd name="T24" fmla="*/ 191 w 296"/>
                <a:gd name="T25" fmla="*/ 20 h 219"/>
                <a:gd name="T26" fmla="*/ 248 w 296"/>
                <a:gd name="T27" fmla="*/ 72 h 219"/>
                <a:gd name="T28" fmla="*/ 273 w 296"/>
                <a:gd name="T29" fmla="*/ 120 h 219"/>
                <a:gd name="T30" fmla="*/ 291 w 296"/>
                <a:gd name="T31" fmla="*/ 143 h 219"/>
                <a:gd name="T32" fmla="*/ 296 w 296"/>
                <a:gd name="T33" fmla="*/ 157 h 219"/>
                <a:gd name="T34" fmla="*/ 292 w 296"/>
                <a:gd name="T35" fmla="*/ 171 h 219"/>
                <a:gd name="T36" fmla="*/ 285 w 296"/>
                <a:gd name="T37" fmla="*/ 178 h 219"/>
                <a:gd name="T38" fmla="*/ 276 w 296"/>
                <a:gd name="T39" fmla="*/ 181 h 219"/>
                <a:gd name="T40" fmla="*/ 257 w 296"/>
                <a:gd name="T41" fmla="*/ 182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6" h="219">
                  <a:moveTo>
                    <a:pt x="257" y="182"/>
                  </a:moveTo>
                  <a:cubicBezTo>
                    <a:pt x="238" y="183"/>
                    <a:pt x="220" y="186"/>
                    <a:pt x="202" y="190"/>
                  </a:cubicBezTo>
                  <a:cubicBezTo>
                    <a:pt x="185" y="193"/>
                    <a:pt x="168" y="197"/>
                    <a:pt x="151" y="202"/>
                  </a:cubicBezTo>
                  <a:cubicBezTo>
                    <a:pt x="122" y="209"/>
                    <a:pt x="94" y="218"/>
                    <a:pt x="64" y="219"/>
                  </a:cubicBezTo>
                  <a:cubicBezTo>
                    <a:pt x="56" y="219"/>
                    <a:pt x="49" y="219"/>
                    <a:pt x="41" y="217"/>
                  </a:cubicBezTo>
                  <a:cubicBezTo>
                    <a:pt x="33" y="215"/>
                    <a:pt x="26" y="212"/>
                    <a:pt x="20" y="207"/>
                  </a:cubicBezTo>
                  <a:cubicBezTo>
                    <a:pt x="11" y="200"/>
                    <a:pt x="5" y="188"/>
                    <a:pt x="3" y="177"/>
                  </a:cubicBezTo>
                  <a:cubicBezTo>
                    <a:pt x="0" y="165"/>
                    <a:pt x="2" y="153"/>
                    <a:pt x="5" y="142"/>
                  </a:cubicBezTo>
                  <a:cubicBezTo>
                    <a:pt x="12" y="119"/>
                    <a:pt x="26" y="99"/>
                    <a:pt x="38" y="79"/>
                  </a:cubicBezTo>
                  <a:cubicBezTo>
                    <a:pt x="45" y="67"/>
                    <a:pt x="51" y="55"/>
                    <a:pt x="58" y="43"/>
                  </a:cubicBezTo>
                  <a:cubicBezTo>
                    <a:pt x="66" y="32"/>
                    <a:pt x="75" y="21"/>
                    <a:pt x="86" y="14"/>
                  </a:cubicBezTo>
                  <a:cubicBezTo>
                    <a:pt x="101" y="4"/>
                    <a:pt x="121" y="0"/>
                    <a:pt x="139" y="2"/>
                  </a:cubicBezTo>
                  <a:cubicBezTo>
                    <a:pt x="157" y="4"/>
                    <a:pt x="175" y="11"/>
                    <a:pt x="191" y="20"/>
                  </a:cubicBezTo>
                  <a:cubicBezTo>
                    <a:pt x="214" y="32"/>
                    <a:pt x="235" y="49"/>
                    <a:pt x="248" y="72"/>
                  </a:cubicBezTo>
                  <a:cubicBezTo>
                    <a:pt x="257" y="87"/>
                    <a:pt x="262" y="105"/>
                    <a:pt x="273" y="120"/>
                  </a:cubicBezTo>
                  <a:cubicBezTo>
                    <a:pt x="279" y="128"/>
                    <a:pt x="286" y="135"/>
                    <a:pt x="291" y="143"/>
                  </a:cubicBezTo>
                  <a:cubicBezTo>
                    <a:pt x="294" y="148"/>
                    <a:pt x="295" y="152"/>
                    <a:pt x="296" y="157"/>
                  </a:cubicBezTo>
                  <a:cubicBezTo>
                    <a:pt x="296" y="162"/>
                    <a:pt x="295" y="167"/>
                    <a:pt x="292" y="171"/>
                  </a:cubicBezTo>
                  <a:cubicBezTo>
                    <a:pt x="291" y="174"/>
                    <a:pt x="288" y="176"/>
                    <a:pt x="285" y="178"/>
                  </a:cubicBezTo>
                  <a:cubicBezTo>
                    <a:pt x="282" y="179"/>
                    <a:pt x="279" y="180"/>
                    <a:pt x="276" y="181"/>
                  </a:cubicBezTo>
                  <a:cubicBezTo>
                    <a:pt x="270" y="182"/>
                    <a:pt x="263" y="182"/>
                    <a:pt x="257" y="182"/>
                  </a:cubicBezTo>
                  <a:close/>
                </a:path>
              </a:pathLst>
            </a:custGeom>
            <a:solidFill>
              <a:srgbClr val="0973D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67" name="Freeform 17"/>
            <p:cNvSpPr>
              <a:spLocks/>
            </p:cNvSpPr>
            <p:nvPr/>
          </p:nvSpPr>
          <p:spPr bwMode="auto">
            <a:xfrm>
              <a:off x="2474913" y="3654425"/>
              <a:ext cx="1470025" cy="2185988"/>
            </a:xfrm>
            <a:custGeom>
              <a:avLst/>
              <a:gdLst>
                <a:gd name="T0" fmla="*/ 156 w 508"/>
                <a:gd name="T1" fmla="*/ 19 h 756"/>
                <a:gd name="T2" fmla="*/ 147 w 508"/>
                <a:gd name="T3" fmla="*/ 37 h 756"/>
                <a:gd name="T4" fmla="*/ 145 w 508"/>
                <a:gd name="T5" fmla="*/ 57 h 756"/>
                <a:gd name="T6" fmla="*/ 142 w 508"/>
                <a:gd name="T7" fmla="*/ 97 h 756"/>
                <a:gd name="T8" fmla="*/ 121 w 508"/>
                <a:gd name="T9" fmla="*/ 134 h 756"/>
                <a:gd name="T10" fmla="*/ 85 w 508"/>
                <a:gd name="T11" fmla="*/ 199 h 756"/>
                <a:gd name="T12" fmla="*/ 81 w 508"/>
                <a:gd name="T13" fmla="*/ 244 h 756"/>
                <a:gd name="T14" fmla="*/ 39 w 508"/>
                <a:gd name="T15" fmla="*/ 319 h 756"/>
                <a:gd name="T16" fmla="*/ 5 w 508"/>
                <a:gd name="T17" fmla="*/ 444 h 756"/>
                <a:gd name="T18" fmla="*/ 28 w 508"/>
                <a:gd name="T19" fmla="*/ 601 h 756"/>
                <a:gd name="T20" fmla="*/ 94 w 508"/>
                <a:gd name="T21" fmla="*/ 694 h 756"/>
                <a:gd name="T22" fmla="*/ 143 w 508"/>
                <a:gd name="T23" fmla="*/ 726 h 756"/>
                <a:gd name="T24" fmla="*/ 339 w 508"/>
                <a:gd name="T25" fmla="*/ 724 h 756"/>
                <a:gd name="T26" fmla="*/ 422 w 508"/>
                <a:gd name="T27" fmla="*/ 658 h 756"/>
                <a:gd name="T28" fmla="*/ 464 w 508"/>
                <a:gd name="T29" fmla="*/ 611 h 756"/>
                <a:gd name="T30" fmla="*/ 500 w 508"/>
                <a:gd name="T31" fmla="*/ 494 h 756"/>
                <a:gd name="T32" fmla="*/ 477 w 508"/>
                <a:gd name="T33" fmla="*/ 282 h 756"/>
                <a:gd name="T34" fmla="*/ 435 w 508"/>
                <a:gd name="T35" fmla="*/ 222 h 756"/>
                <a:gd name="T36" fmla="*/ 408 w 508"/>
                <a:gd name="T37" fmla="*/ 132 h 756"/>
                <a:gd name="T38" fmla="*/ 378 w 508"/>
                <a:gd name="T39" fmla="*/ 70 h 756"/>
                <a:gd name="T40" fmla="*/ 367 w 508"/>
                <a:gd name="T41" fmla="*/ 45 h 756"/>
                <a:gd name="T42" fmla="*/ 352 w 508"/>
                <a:gd name="T43" fmla="*/ 22 h 756"/>
                <a:gd name="T44" fmla="*/ 327 w 508"/>
                <a:gd name="T45" fmla="*/ 7 h 756"/>
                <a:gd name="T46" fmla="*/ 299 w 508"/>
                <a:gd name="T47" fmla="*/ 3 h 756"/>
                <a:gd name="T48" fmla="*/ 242 w 508"/>
                <a:gd name="T49" fmla="*/ 3 h 756"/>
                <a:gd name="T50" fmla="*/ 196 w 508"/>
                <a:gd name="T51" fmla="*/ 1 h 756"/>
                <a:gd name="T52" fmla="*/ 174 w 508"/>
                <a:gd name="T53" fmla="*/ 6 h 756"/>
                <a:gd name="T54" fmla="*/ 156 w 508"/>
                <a:gd name="T55" fmla="*/ 19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08" h="756">
                  <a:moveTo>
                    <a:pt x="156" y="19"/>
                  </a:moveTo>
                  <a:cubicBezTo>
                    <a:pt x="152" y="24"/>
                    <a:pt x="149" y="30"/>
                    <a:pt x="147" y="37"/>
                  </a:cubicBezTo>
                  <a:cubicBezTo>
                    <a:pt x="146" y="43"/>
                    <a:pt x="145" y="50"/>
                    <a:pt x="145" y="57"/>
                  </a:cubicBezTo>
                  <a:cubicBezTo>
                    <a:pt x="144" y="70"/>
                    <a:pt x="145" y="84"/>
                    <a:pt x="142" y="97"/>
                  </a:cubicBezTo>
                  <a:cubicBezTo>
                    <a:pt x="138" y="111"/>
                    <a:pt x="129" y="123"/>
                    <a:pt x="121" y="134"/>
                  </a:cubicBezTo>
                  <a:cubicBezTo>
                    <a:pt x="106" y="155"/>
                    <a:pt x="92" y="175"/>
                    <a:pt x="85" y="199"/>
                  </a:cubicBezTo>
                  <a:cubicBezTo>
                    <a:pt x="80" y="214"/>
                    <a:pt x="79" y="229"/>
                    <a:pt x="81" y="244"/>
                  </a:cubicBezTo>
                  <a:cubicBezTo>
                    <a:pt x="64" y="268"/>
                    <a:pt x="50" y="293"/>
                    <a:pt x="39" y="319"/>
                  </a:cubicBezTo>
                  <a:cubicBezTo>
                    <a:pt x="21" y="359"/>
                    <a:pt x="9" y="401"/>
                    <a:pt x="5" y="444"/>
                  </a:cubicBezTo>
                  <a:cubicBezTo>
                    <a:pt x="0" y="497"/>
                    <a:pt x="7" y="552"/>
                    <a:pt x="28" y="601"/>
                  </a:cubicBezTo>
                  <a:cubicBezTo>
                    <a:pt x="43" y="636"/>
                    <a:pt x="65" y="668"/>
                    <a:pt x="94" y="694"/>
                  </a:cubicBezTo>
                  <a:cubicBezTo>
                    <a:pt x="109" y="706"/>
                    <a:pt x="126" y="717"/>
                    <a:pt x="143" y="726"/>
                  </a:cubicBezTo>
                  <a:cubicBezTo>
                    <a:pt x="204" y="756"/>
                    <a:pt x="279" y="756"/>
                    <a:pt x="339" y="724"/>
                  </a:cubicBezTo>
                  <a:cubicBezTo>
                    <a:pt x="370" y="707"/>
                    <a:pt x="397" y="683"/>
                    <a:pt x="422" y="658"/>
                  </a:cubicBezTo>
                  <a:cubicBezTo>
                    <a:pt x="437" y="644"/>
                    <a:pt x="453" y="628"/>
                    <a:pt x="464" y="611"/>
                  </a:cubicBezTo>
                  <a:cubicBezTo>
                    <a:pt x="487" y="576"/>
                    <a:pt x="495" y="534"/>
                    <a:pt x="500" y="494"/>
                  </a:cubicBezTo>
                  <a:cubicBezTo>
                    <a:pt x="508" y="422"/>
                    <a:pt x="508" y="347"/>
                    <a:pt x="477" y="282"/>
                  </a:cubicBezTo>
                  <a:cubicBezTo>
                    <a:pt x="466" y="260"/>
                    <a:pt x="452" y="239"/>
                    <a:pt x="435" y="222"/>
                  </a:cubicBezTo>
                  <a:cubicBezTo>
                    <a:pt x="430" y="191"/>
                    <a:pt x="421" y="160"/>
                    <a:pt x="408" y="132"/>
                  </a:cubicBezTo>
                  <a:cubicBezTo>
                    <a:pt x="399" y="111"/>
                    <a:pt x="387" y="91"/>
                    <a:pt x="378" y="70"/>
                  </a:cubicBezTo>
                  <a:cubicBezTo>
                    <a:pt x="375" y="62"/>
                    <a:pt x="371" y="53"/>
                    <a:pt x="367" y="45"/>
                  </a:cubicBezTo>
                  <a:cubicBezTo>
                    <a:pt x="363" y="36"/>
                    <a:pt x="358" y="28"/>
                    <a:pt x="352" y="22"/>
                  </a:cubicBezTo>
                  <a:cubicBezTo>
                    <a:pt x="345" y="15"/>
                    <a:pt x="336" y="10"/>
                    <a:pt x="327" y="7"/>
                  </a:cubicBezTo>
                  <a:cubicBezTo>
                    <a:pt x="318" y="4"/>
                    <a:pt x="309" y="3"/>
                    <a:pt x="299" y="3"/>
                  </a:cubicBezTo>
                  <a:cubicBezTo>
                    <a:pt x="280" y="2"/>
                    <a:pt x="261" y="4"/>
                    <a:pt x="242" y="3"/>
                  </a:cubicBezTo>
                  <a:cubicBezTo>
                    <a:pt x="227" y="3"/>
                    <a:pt x="211" y="0"/>
                    <a:pt x="196" y="1"/>
                  </a:cubicBezTo>
                  <a:cubicBezTo>
                    <a:pt x="189" y="1"/>
                    <a:pt x="181" y="3"/>
                    <a:pt x="174" y="6"/>
                  </a:cubicBezTo>
                  <a:cubicBezTo>
                    <a:pt x="167" y="8"/>
                    <a:pt x="161" y="13"/>
                    <a:pt x="156" y="19"/>
                  </a:cubicBezTo>
                  <a:close/>
                </a:path>
              </a:pathLst>
            </a:custGeom>
            <a:solidFill>
              <a:srgbClr val="FDFDFB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68" name="Freeform 18"/>
            <p:cNvSpPr>
              <a:spLocks/>
            </p:cNvSpPr>
            <p:nvPr/>
          </p:nvSpPr>
          <p:spPr bwMode="auto">
            <a:xfrm>
              <a:off x="1811338" y="5070475"/>
              <a:ext cx="1117600" cy="1087438"/>
            </a:xfrm>
            <a:custGeom>
              <a:avLst/>
              <a:gdLst>
                <a:gd name="T0" fmla="*/ 163 w 386"/>
                <a:gd name="T1" fmla="*/ 3 h 376"/>
                <a:gd name="T2" fmla="*/ 183 w 386"/>
                <a:gd name="T3" fmla="*/ 1 h 376"/>
                <a:gd name="T4" fmla="*/ 203 w 386"/>
                <a:gd name="T5" fmla="*/ 9 h 376"/>
                <a:gd name="T6" fmla="*/ 231 w 386"/>
                <a:gd name="T7" fmla="*/ 39 h 376"/>
                <a:gd name="T8" fmla="*/ 284 w 386"/>
                <a:gd name="T9" fmla="*/ 118 h 376"/>
                <a:gd name="T10" fmla="*/ 325 w 386"/>
                <a:gd name="T11" fmla="*/ 184 h 376"/>
                <a:gd name="T12" fmla="*/ 357 w 386"/>
                <a:gd name="T13" fmla="*/ 223 h 376"/>
                <a:gd name="T14" fmla="*/ 380 w 386"/>
                <a:gd name="T15" fmla="*/ 267 h 376"/>
                <a:gd name="T16" fmla="*/ 374 w 386"/>
                <a:gd name="T17" fmla="*/ 331 h 376"/>
                <a:gd name="T18" fmla="*/ 342 w 386"/>
                <a:gd name="T19" fmla="*/ 364 h 376"/>
                <a:gd name="T20" fmla="*/ 298 w 386"/>
                <a:gd name="T21" fmla="*/ 376 h 376"/>
                <a:gd name="T22" fmla="*/ 228 w 386"/>
                <a:gd name="T23" fmla="*/ 353 h 376"/>
                <a:gd name="T24" fmla="*/ 83 w 386"/>
                <a:gd name="T25" fmla="*/ 315 h 376"/>
                <a:gd name="T26" fmla="*/ 39 w 386"/>
                <a:gd name="T27" fmla="*/ 301 h 376"/>
                <a:gd name="T28" fmla="*/ 19 w 386"/>
                <a:gd name="T29" fmla="*/ 295 h 376"/>
                <a:gd name="T30" fmla="*/ 3 w 386"/>
                <a:gd name="T31" fmla="*/ 282 h 376"/>
                <a:gd name="T32" fmla="*/ 0 w 386"/>
                <a:gd name="T33" fmla="*/ 267 h 376"/>
                <a:gd name="T34" fmla="*/ 3 w 386"/>
                <a:gd name="T35" fmla="*/ 252 h 376"/>
                <a:gd name="T36" fmla="*/ 16 w 386"/>
                <a:gd name="T37" fmla="*/ 223 h 376"/>
                <a:gd name="T38" fmla="*/ 23 w 386"/>
                <a:gd name="T39" fmla="*/ 173 h 376"/>
                <a:gd name="T40" fmla="*/ 18 w 386"/>
                <a:gd name="T41" fmla="*/ 122 h 376"/>
                <a:gd name="T42" fmla="*/ 19 w 386"/>
                <a:gd name="T43" fmla="*/ 99 h 376"/>
                <a:gd name="T44" fmla="*/ 29 w 386"/>
                <a:gd name="T45" fmla="*/ 79 h 376"/>
                <a:gd name="T46" fmla="*/ 48 w 386"/>
                <a:gd name="T47" fmla="*/ 70 h 376"/>
                <a:gd name="T48" fmla="*/ 69 w 386"/>
                <a:gd name="T49" fmla="*/ 68 h 376"/>
                <a:gd name="T50" fmla="*/ 91 w 386"/>
                <a:gd name="T51" fmla="*/ 68 h 376"/>
                <a:gd name="T52" fmla="*/ 111 w 386"/>
                <a:gd name="T53" fmla="*/ 63 h 376"/>
                <a:gd name="T54" fmla="*/ 126 w 386"/>
                <a:gd name="T55" fmla="*/ 49 h 376"/>
                <a:gd name="T56" fmla="*/ 136 w 386"/>
                <a:gd name="T57" fmla="*/ 32 h 376"/>
                <a:gd name="T58" fmla="*/ 147 w 386"/>
                <a:gd name="T59" fmla="*/ 15 h 376"/>
                <a:gd name="T60" fmla="*/ 163 w 386"/>
                <a:gd name="T61" fmla="*/ 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86" h="376">
                  <a:moveTo>
                    <a:pt x="163" y="3"/>
                  </a:moveTo>
                  <a:cubicBezTo>
                    <a:pt x="169" y="0"/>
                    <a:pt x="177" y="0"/>
                    <a:pt x="183" y="1"/>
                  </a:cubicBezTo>
                  <a:cubicBezTo>
                    <a:pt x="190" y="2"/>
                    <a:pt x="197" y="5"/>
                    <a:pt x="203" y="9"/>
                  </a:cubicBezTo>
                  <a:cubicBezTo>
                    <a:pt x="214" y="17"/>
                    <a:pt x="223" y="28"/>
                    <a:pt x="231" y="39"/>
                  </a:cubicBezTo>
                  <a:cubicBezTo>
                    <a:pt x="250" y="65"/>
                    <a:pt x="268" y="91"/>
                    <a:pt x="284" y="118"/>
                  </a:cubicBezTo>
                  <a:cubicBezTo>
                    <a:pt x="298" y="140"/>
                    <a:pt x="310" y="163"/>
                    <a:pt x="325" y="184"/>
                  </a:cubicBezTo>
                  <a:cubicBezTo>
                    <a:pt x="335" y="197"/>
                    <a:pt x="347" y="210"/>
                    <a:pt x="357" y="223"/>
                  </a:cubicBezTo>
                  <a:cubicBezTo>
                    <a:pt x="367" y="236"/>
                    <a:pt x="376" y="251"/>
                    <a:pt x="380" y="267"/>
                  </a:cubicBezTo>
                  <a:cubicBezTo>
                    <a:pt x="386" y="288"/>
                    <a:pt x="384" y="312"/>
                    <a:pt x="374" y="331"/>
                  </a:cubicBezTo>
                  <a:cubicBezTo>
                    <a:pt x="366" y="345"/>
                    <a:pt x="355" y="356"/>
                    <a:pt x="342" y="364"/>
                  </a:cubicBezTo>
                  <a:cubicBezTo>
                    <a:pt x="329" y="372"/>
                    <a:pt x="313" y="376"/>
                    <a:pt x="298" y="376"/>
                  </a:cubicBezTo>
                  <a:cubicBezTo>
                    <a:pt x="273" y="375"/>
                    <a:pt x="251" y="362"/>
                    <a:pt x="228" y="353"/>
                  </a:cubicBezTo>
                  <a:cubicBezTo>
                    <a:pt x="181" y="335"/>
                    <a:pt x="131" y="329"/>
                    <a:pt x="83" y="315"/>
                  </a:cubicBezTo>
                  <a:cubicBezTo>
                    <a:pt x="68" y="311"/>
                    <a:pt x="53" y="305"/>
                    <a:pt x="39" y="301"/>
                  </a:cubicBezTo>
                  <a:cubicBezTo>
                    <a:pt x="32" y="300"/>
                    <a:pt x="25" y="298"/>
                    <a:pt x="19" y="295"/>
                  </a:cubicBezTo>
                  <a:cubicBezTo>
                    <a:pt x="13" y="292"/>
                    <a:pt x="7" y="288"/>
                    <a:pt x="3" y="282"/>
                  </a:cubicBezTo>
                  <a:cubicBezTo>
                    <a:pt x="1" y="278"/>
                    <a:pt x="0" y="272"/>
                    <a:pt x="0" y="267"/>
                  </a:cubicBezTo>
                  <a:cubicBezTo>
                    <a:pt x="0" y="262"/>
                    <a:pt x="1" y="257"/>
                    <a:pt x="3" y="252"/>
                  </a:cubicBezTo>
                  <a:cubicBezTo>
                    <a:pt x="6" y="242"/>
                    <a:pt x="12" y="233"/>
                    <a:pt x="16" y="223"/>
                  </a:cubicBezTo>
                  <a:cubicBezTo>
                    <a:pt x="23" y="208"/>
                    <a:pt x="24" y="190"/>
                    <a:pt x="23" y="173"/>
                  </a:cubicBezTo>
                  <a:cubicBezTo>
                    <a:pt x="22" y="156"/>
                    <a:pt x="19" y="139"/>
                    <a:pt x="18" y="122"/>
                  </a:cubicBezTo>
                  <a:cubicBezTo>
                    <a:pt x="17" y="114"/>
                    <a:pt x="17" y="106"/>
                    <a:pt x="19" y="99"/>
                  </a:cubicBezTo>
                  <a:cubicBezTo>
                    <a:pt x="20" y="91"/>
                    <a:pt x="24" y="84"/>
                    <a:pt x="29" y="79"/>
                  </a:cubicBezTo>
                  <a:cubicBezTo>
                    <a:pt x="34" y="74"/>
                    <a:pt x="41" y="71"/>
                    <a:pt x="48" y="70"/>
                  </a:cubicBezTo>
                  <a:cubicBezTo>
                    <a:pt x="55" y="68"/>
                    <a:pt x="62" y="68"/>
                    <a:pt x="69" y="68"/>
                  </a:cubicBezTo>
                  <a:cubicBezTo>
                    <a:pt x="76" y="68"/>
                    <a:pt x="83" y="69"/>
                    <a:pt x="91" y="68"/>
                  </a:cubicBezTo>
                  <a:cubicBezTo>
                    <a:pt x="98" y="68"/>
                    <a:pt x="105" y="66"/>
                    <a:pt x="111" y="63"/>
                  </a:cubicBezTo>
                  <a:cubicBezTo>
                    <a:pt x="117" y="59"/>
                    <a:pt x="122" y="54"/>
                    <a:pt x="126" y="49"/>
                  </a:cubicBezTo>
                  <a:cubicBezTo>
                    <a:pt x="130" y="44"/>
                    <a:pt x="133" y="38"/>
                    <a:pt x="136" y="32"/>
                  </a:cubicBezTo>
                  <a:cubicBezTo>
                    <a:pt x="139" y="26"/>
                    <a:pt x="143" y="20"/>
                    <a:pt x="147" y="15"/>
                  </a:cubicBezTo>
                  <a:cubicBezTo>
                    <a:pt x="152" y="10"/>
                    <a:pt x="157" y="5"/>
                    <a:pt x="163" y="3"/>
                  </a:cubicBezTo>
                  <a:close/>
                </a:path>
              </a:pathLst>
            </a:custGeom>
            <a:solidFill>
              <a:srgbClr val="0973D1"/>
            </a:solidFill>
            <a:ln w="92075" cap="rnd">
              <a:noFill/>
              <a:prstDash val="solid"/>
              <a:round/>
              <a:headEnd/>
              <a:tailEnd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69" name="Freeform 19"/>
            <p:cNvSpPr>
              <a:spLocks/>
            </p:cNvSpPr>
            <p:nvPr/>
          </p:nvSpPr>
          <p:spPr bwMode="auto">
            <a:xfrm>
              <a:off x="3698875" y="5132388"/>
              <a:ext cx="1009650" cy="1035050"/>
            </a:xfrm>
            <a:custGeom>
              <a:avLst/>
              <a:gdLst>
                <a:gd name="T0" fmla="*/ 347 w 349"/>
                <a:gd name="T1" fmla="*/ 184 h 358"/>
                <a:gd name="T2" fmla="*/ 336 w 349"/>
                <a:gd name="T3" fmla="*/ 203 h 358"/>
                <a:gd name="T4" fmla="*/ 296 w 349"/>
                <a:gd name="T5" fmla="*/ 231 h 358"/>
                <a:gd name="T6" fmla="*/ 222 w 349"/>
                <a:gd name="T7" fmla="*/ 270 h 358"/>
                <a:gd name="T8" fmla="*/ 178 w 349"/>
                <a:gd name="T9" fmla="*/ 305 h 358"/>
                <a:gd name="T10" fmla="*/ 143 w 349"/>
                <a:gd name="T11" fmla="*/ 336 h 358"/>
                <a:gd name="T12" fmla="*/ 98 w 349"/>
                <a:gd name="T13" fmla="*/ 355 h 358"/>
                <a:gd name="T14" fmla="*/ 41 w 349"/>
                <a:gd name="T15" fmla="*/ 346 h 358"/>
                <a:gd name="T16" fmla="*/ 9 w 349"/>
                <a:gd name="T17" fmla="*/ 322 h 358"/>
                <a:gd name="T18" fmla="*/ 0 w 349"/>
                <a:gd name="T19" fmla="*/ 282 h 358"/>
                <a:gd name="T20" fmla="*/ 8 w 349"/>
                <a:gd name="T21" fmla="*/ 210 h 358"/>
                <a:gd name="T22" fmla="*/ 18 w 349"/>
                <a:gd name="T23" fmla="*/ 150 h 358"/>
                <a:gd name="T24" fmla="*/ 19 w 349"/>
                <a:gd name="T25" fmla="*/ 41 h 358"/>
                <a:gd name="T26" fmla="*/ 19 w 349"/>
                <a:gd name="T27" fmla="*/ 23 h 358"/>
                <a:gd name="T28" fmla="*/ 27 w 349"/>
                <a:gd name="T29" fmla="*/ 6 h 358"/>
                <a:gd name="T30" fmla="*/ 43 w 349"/>
                <a:gd name="T31" fmla="*/ 1 h 358"/>
                <a:gd name="T32" fmla="*/ 60 w 349"/>
                <a:gd name="T33" fmla="*/ 2 h 358"/>
                <a:gd name="T34" fmla="*/ 100 w 349"/>
                <a:gd name="T35" fmla="*/ 9 h 358"/>
                <a:gd name="T36" fmla="*/ 124 w 349"/>
                <a:gd name="T37" fmla="*/ 16 h 358"/>
                <a:gd name="T38" fmla="*/ 166 w 349"/>
                <a:gd name="T39" fmla="*/ 20 h 358"/>
                <a:gd name="T40" fmla="*/ 211 w 349"/>
                <a:gd name="T41" fmla="*/ 13 h 358"/>
                <a:gd name="T42" fmla="*/ 230 w 349"/>
                <a:gd name="T43" fmla="*/ 16 h 358"/>
                <a:gd name="T44" fmla="*/ 246 w 349"/>
                <a:gd name="T45" fmla="*/ 25 h 358"/>
                <a:gd name="T46" fmla="*/ 254 w 349"/>
                <a:gd name="T47" fmla="*/ 38 h 358"/>
                <a:gd name="T48" fmla="*/ 259 w 349"/>
                <a:gd name="T49" fmla="*/ 58 h 358"/>
                <a:gd name="T50" fmla="*/ 260 w 349"/>
                <a:gd name="T51" fmla="*/ 77 h 358"/>
                <a:gd name="T52" fmla="*/ 275 w 349"/>
                <a:gd name="T53" fmla="*/ 105 h 358"/>
                <a:gd name="T54" fmla="*/ 298 w 349"/>
                <a:gd name="T55" fmla="*/ 127 h 358"/>
                <a:gd name="T56" fmla="*/ 322 w 349"/>
                <a:gd name="T57" fmla="*/ 146 h 358"/>
                <a:gd name="T58" fmla="*/ 334 w 349"/>
                <a:gd name="T59" fmla="*/ 154 h 358"/>
                <a:gd name="T60" fmla="*/ 344 w 349"/>
                <a:gd name="T61" fmla="*/ 165 h 358"/>
                <a:gd name="T62" fmla="*/ 347 w 349"/>
                <a:gd name="T63" fmla="*/ 184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9" h="358">
                  <a:moveTo>
                    <a:pt x="347" y="184"/>
                  </a:moveTo>
                  <a:cubicBezTo>
                    <a:pt x="344" y="191"/>
                    <a:pt x="341" y="197"/>
                    <a:pt x="336" y="203"/>
                  </a:cubicBezTo>
                  <a:cubicBezTo>
                    <a:pt x="325" y="216"/>
                    <a:pt x="311" y="224"/>
                    <a:pt x="296" y="231"/>
                  </a:cubicBezTo>
                  <a:cubicBezTo>
                    <a:pt x="271" y="244"/>
                    <a:pt x="245" y="255"/>
                    <a:pt x="222" y="270"/>
                  </a:cubicBezTo>
                  <a:cubicBezTo>
                    <a:pt x="206" y="280"/>
                    <a:pt x="192" y="292"/>
                    <a:pt x="178" y="305"/>
                  </a:cubicBezTo>
                  <a:cubicBezTo>
                    <a:pt x="166" y="316"/>
                    <a:pt x="155" y="327"/>
                    <a:pt x="143" y="336"/>
                  </a:cubicBezTo>
                  <a:cubicBezTo>
                    <a:pt x="129" y="346"/>
                    <a:pt x="114" y="353"/>
                    <a:pt x="98" y="355"/>
                  </a:cubicBezTo>
                  <a:cubicBezTo>
                    <a:pt x="79" y="358"/>
                    <a:pt x="59" y="354"/>
                    <a:pt x="41" y="346"/>
                  </a:cubicBezTo>
                  <a:cubicBezTo>
                    <a:pt x="28" y="341"/>
                    <a:pt x="16" y="333"/>
                    <a:pt x="9" y="322"/>
                  </a:cubicBezTo>
                  <a:cubicBezTo>
                    <a:pt x="1" y="310"/>
                    <a:pt x="0" y="296"/>
                    <a:pt x="0" y="282"/>
                  </a:cubicBezTo>
                  <a:cubicBezTo>
                    <a:pt x="0" y="258"/>
                    <a:pt x="4" y="234"/>
                    <a:pt x="8" y="210"/>
                  </a:cubicBezTo>
                  <a:cubicBezTo>
                    <a:pt x="12" y="190"/>
                    <a:pt x="15" y="170"/>
                    <a:pt x="18" y="150"/>
                  </a:cubicBezTo>
                  <a:cubicBezTo>
                    <a:pt x="21" y="114"/>
                    <a:pt x="21" y="77"/>
                    <a:pt x="19" y="41"/>
                  </a:cubicBezTo>
                  <a:cubicBezTo>
                    <a:pt x="18" y="35"/>
                    <a:pt x="18" y="29"/>
                    <a:pt x="19" y="23"/>
                  </a:cubicBezTo>
                  <a:cubicBezTo>
                    <a:pt x="20" y="16"/>
                    <a:pt x="22" y="10"/>
                    <a:pt x="27" y="6"/>
                  </a:cubicBezTo>
                  <a:cubicBezTo>
                    <a:pt x="31" y="3"/>
                    <a:pt x="37" y="1"/>
                    <a:pt x="43" y="1"/>
                  </a:cubicBezTo>
                  <a:cubicBezTo>
                    <a:pt x="49" y="0"/>
                    <a:pt x="54" y="1"/>
                    <a:pt x="60" y="2"/>
                  </a:cubicBezTo>
                  <a:cubicBezTo>
                    <a:pt x="73" y="4"/>
                    <a:pt x="87" y="6"/>
                    <a:pt x="100" y="9"/>
                  </a:cubicBezTo>
                  <a:cubicBezTo>
                    <a:pt x="108" y="11"/>
                    <a:pt x="116" y="14"/>
                    <a:pt x="124" y="16"/>
                  </a:cubicBezTo>
                  <a:cubicBezTo>
                    <a:pt x="138" y="20"/>
                    <a:pt x="152" y="22"/>
                    <a:pt x="166" y="20"/>
                  </a:cubicBezTo>
                  <a:cubicBezTo>
                    <a:pt x="181" y="18"/>
                    <a:pt x="196" y="13"/>
                    <a:pt x="211" y="13"/>
                  </a:cubicBezTo>
                  <a:cubicBezTo>
                    <a:pt x="218" y="13"/>
                    <a:pt x="224" y="14"/>
                    <a:pt x="230" y="16"/>
                  </a:cubicBezTo>
                  <a:cubicBezTo>
                    <a:pt x="236" y="18"/>
                    <a:pt x="242" y="21"/>
                    <a:pt x="246" y="25"/>
                  </a:cubicBezTo>
                  <a:cubicBezTo>
                    <a:pt x="250" y="29"/>
                    <a:pt x="252" y="33"/>
                    <a:pt x="254" y="38"/>
                  </a:cubicBezTo>
                  <a:cubicBezTo>
                    <a:pt x="257" y="44"/>
                    <a:pt x="258" y="51"/>
                    <a:pt x="259" y="58"/>
                  </a:cubicBezTo>
                  <a:cubicBezTo>
                    <a:pt x="259" y="65"/>
                    <a:pt x="259" y="71"/>
                    <a:pt x="260" y="77"/>
                  </a:cubicBezTo>
                  <a:cubicBezTo>
                    <a:pt x="262" y="88"/>
                    <a:pt x="268" y="97"/>
                    <a:pt x="275" y="105"/>
                  </a:cubicBezTo>
                  <a:cubicBezTo>
                    <a:pt x="281" y="113"/>
                    <a:pt x="289" y="120"/>
                    <a:pt x="298" y="127"/>
                  </a:cubicBezTo>
                  <a:cubicBezTo>
                    <a:pt x="306" y="133"/>
                    <a:pt x="314" y="140"/>
                    <a:pt x="322" y="146"/>
                  </a:cubicBezTo>
                  <a:cubicBezTo>
                    <a:pt x="326" y="149"/>
                    <a:pt x="331" y="151"/>
                    <a:pt x="334" y="154"/>
                  </a:cubicBezTo>
                  <a:cubicBezTo>
                    <a:pt x="338" y="157"/>
                    <a:pt x="342" y="161"/>
                    <a:pt x="344" y="165"/>
                  </a:cubicBezTo>
                  <a:cubicBezTo>
                    <a:pt x="348" y="171"/>
                    <a:pt x="349" y="178"/>
                    <a:pt x="347" y="184"/>
                  </a:cubicBezTo>
                  <a:close/>
                </a:path>
              </a:pathLst>
            </a:custGeom>
            <a:solidFill>
              <a:srgbClr val="0973D1"/>
            </a:solidFill>
            <a:ln w="92075" cap="rnd">
              <a:noFill/>
              <a:prstDash val="solid"/>
              <a:round/>
              <a:headEnd/>
              <a:tailEnd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70" name="Freeform 20"/>
            <p:cNvSpPr>
              <a:spLocks/>
            </p:cNvSpPr>
            <p:nvPr/>
          </p:nvSpPr>
          <p:spPr bwMode="auto">
            <a:xfrm>
              <a:off x="2841625" y="3228975"/>
              <a:ext cx="246063" cy="387350"/>
            </a:xfrm>
            <a:custGeom>
              <a:avLst/>
              <a:gdLst>
                <a:gd name="T0" fmla="*/ 35 w 85"/>
                <a:gd name="T1" fmla="*/ 0 h 134"/>
                <a:gd name="T2" fmla="*/ 16 w 85"/>
                <a:gd name="T3" fmla="*/ 9 h 134"/>
                <a:gd name="T4" fmla="*/ 5 w 85"/>
                <a:gd name="T5" fmla="*/ 27 h 134"/>
                <a:gd name="T6" fmla="*/ 2 w 85"/>
                <a:gd name="T7" fmla="*/ 69 h 134"/>
                <a:gd name="T8" fmla="*/ 9 w 85"/>
                <a:gd name="T9" fmla="*/ 107 h 134"/>
                <a:gd name="T10" fmla="*/ 19 w 85"/>
                <a:gd name="T11" fmla="*/ 123 h 134"/>
                <a:gd name="T12" fmla="*/ 36 w 85"/>
                <a:gd name="T13" fmla="*/ 133 h 134"/>
                <a:gd name="T14" fmla="*/ 54 w 85"/>
                <a:gd name="T15" fmla="*/ 132 h 134"/>
                <a:gd name="T16" fmla="*/ 69 w 85"/>
                <a:gd name="T17" fmla="*/ 123 h 134"/>
                <a:gd name="T18" fmla="*/ 82 w 85"/>
                <a:gd name="T19" fmla="*/ 100 h 134"/>
                <a:gd name="T20" fmla="*/ 85 w 85"/>
                <a:gd name="T21" fmla="*/ 74 h 134"/>
                <a:gd name="T22" fmla="*/ 80 w 85"/>
                <a:gd name="T23" fmla="*/ 41 h 134"/>
                <a:gd name="T24" fmla="*/ 63 w 85"/>
                <a:gd name="T25" fmla="*/ 13 h 134"/>
                <a:gd name="T26" fmla="*/ 50 w 85"/>
                <a:gd name="T27" fmla="*/ 3 h 134"/>
                <a:gd name="T28" fmla="*/ 35 w 85"/>
                <a:gd name="T29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134">
                  <a:moveTo>
                    <a:pt x="35" y="0"/>
                  </a:moveTo>
                  <a:cubicBezTo>
                    <a:pt x="28" y="0"/>
                    <a:pt x="21" y="4"/>
                    <a:pt x="16" y="9"/>
                  </a:cubicBezTo>
                  <a:cubicBezTo>
                    <a:pt x="11" y="13"/>
                    <a:pt x="7" y="20"/>
                    <a:pt x="5" y="27"/>
                  </a:cubicBezTo>
                  <a:cubicBezTo>
                    <a:pt x="0" y="40"/>
                    <a:pt x="1" y="55"/>
                    <a:pt x="2" y="69"/>
                  </a:cubicBezTo>
                  <a:cubicBezTo>
                    <a:pt x="3" y="82"/>
                    <a:pt x="4" y="95"/>
                    <a:pt x="9" y="107"/>
                  </a:cubicBezTo>
                  <a:cubicBezTo>
                    <a:pt x="11" y="113"/>
                    <a:pt x="15" y="119"/>
                    <a:pt x="19" y="123"/>
                  </a:cubicBezTo>
                  <a:cubicBezTo>
                    <a:pt x="24" y="128"/>
                    <a:pt x="29" y="131"/>
                    <a:pt x="36" y="133"/>
                  </a:cubicBezTo>
                  <a:cubicBezTo>
                    <a:pt x="42" y="134"/>
                    <a:pt x="48" y="134"/>
                    <a:pt x="54" y="132"/>
                  </a:cubicBezTo>
                  <a:cubicBezTo>
                    <a:pt x="59" y="131"/>
                    <a:pt x="65" y="127"/>
                    <a:pt x="69" y="123"/>
                  </a:cubicBezTo>
                  <a:cubicBezTo>
                    <a:pt x="75" y="117"/>
                    <a:pt x="80" y="109"/>
                    <a:pt x="82" y="100"/>
                  </a:cubicBezTo>
                  <a:cubicBezTo>
                    <a:pt x="84" y="92"/>
                    <a:pt x="85" y="83"/>
                    <a:pt x="85" y="74"/>
                  </a:cubicBezTo>
                  <a:cubicBezTo>
                    <a:pt x="85" y="63"/>
                    <a:pt x="83" y="52"/>
                    <a:pt x="80" y="41"/>
                  </a:cubicBezTo>
                  <a:cubicBezTo>
                    <a:pt x="76" y="31"/>
                    <a:pt x="71" y="21"/>
                    <a:pt x="63" y="13"/>
                  </a:cubicBezTo>
                  <a:cubicBezTo>
                    <a:pt x="60" y="9"/>
                    <a:pt x="55" y="6"/>
                    <a:pt x="50" y="3"/>
                  </a:cubicBezTo>
                  <a:cubicBezTo>
                    <a:pt x="46" y="1"/>
                    <a:pt x="40" y="0"/>
                    <a:pt x="35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74" name="Freeform 21"/>
            <p:cNvSpPr>
              <a:spLocks/>
            </p:cNvSpPr>
            <p:nvPr/>
          </p:nvSpPr>
          <p:spPr bwMode="auto">
            <a:xfrm>
              <a:off x="3217863" y="3203575"/>
              <a:ext cx="336550" cy="411163"/>
            </a:xfrm>
            <a:custGeom>
              <a:avLst/>
              <a:gdLst>
                <a:gd name="T0" fmla="*/ 31 w 116"/>
                <a:gd name="T1" fmla="*/ 9 h 142"/>
                <a:gd name="T2" fmla="*/ 6 w 116"/>
                <a:gd name="T3" fmla="*/ 40 h 142"/>
                <a:gd name="T4" fmla="*/ 8 w 116"/>
                <a:gd name="T5" fmla="*/ 90 h 142"/>
                <a:gd name="T6" fmla="*/ 38 w 116"/>
                <a:gd name="T7" fmla="*/ 132 h 142"/>
                <a:gd name="T8" fmla="*/ 62 w 116"/>
                <a:gd name="T9" fmla="*/ 141 h 142"/>
                <a:gd name="T10" fmla="*/ 87 w 116"/>
                <a:gd name="T11" fmla="*/ 137 h 142"/>
                <a:gd name="T12" fmla="*/ 108 w 116"/>
                <a:gd name="T13" fmla="*/ 114 h 142"/>
                <a:gd name="T14" fmla="*/ 115 w 116"/>
                <a:gd name="T15" fmla="*/ 83 h 142"/>
                <a:gd name="T16" fmla="*/ 110 w 116"/>
                <a:gd name="T17" fmla="*/ 43 h 142"/>
                <a:gd name="T18" fmla="*/ 84 w 116"/>
                <a:gd name="T19" fmla="*/ 8 h 142"/>
                <a:gd name="T20" fmla="*/ 64 w 116"/>
                <a:gd name="T21" fmla="*/ 1 h 142"/>
                <a:gd name="T22" fmla="*/ 42 w 116"/>
                <a:gd name="T23" fmla="*/ 3 h 142"/>
                <a:gd name="T24" fmla="*/ 31 w 116"/>
                <a:gd name="T25" fmla="*/ 9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6" h="142">
                  <a:moveTo>
                    <a:pt x="31" y="9"/>
                  </a:moveTo>
                  <a:cubicBezTo>
                    <a:pt x="20" y="17"/>
                    <a:pt x="11" y="27"/>
                    <a:pt x="6" y="40"/>
                  </a:cubicBezTo>
                  <a:cubicBezTo>
                    <a:pt x="0" y="56"/>
                    <a:pt x="2" y="74"/>
                    <a:pt x="8" y="90"/>
                  </a:cubicBezTo>
                  <a:cubicBezTo>
                    <a:pt x="14" y="106"/>
                    <a:pt x="23" y="122"/>
                    <a:pt x="38" y="132"/>
                  </a:cubicBezTo>
                  <a:cubicBezTo>
                    <a:pt x="45" y="137"/>
                    <a:pt x="53" y="140"/>
                    <a:pt x="62" y="141"/>
                  </a:cubicBezTo>
                  <a:cubicBezTo>
                    <a:pt x="70" y="142"/>
                    <a:pt x="79" y="141"/>
                    <a:pt x="87" y="137"/>
                  </a:cubicBezTo>
                  <a:cubicBezTo>
                    <a:pt x="96" y="132"/>
                    <a:pt x="104" y="124"/>
                    <a:pt x="108" y="114"/>
                  </a:cubicBezTo>
                  <a:cubicBezTo>
                    <a:pt x="113" y="104"/>
                    <a:pt x="114" y="94"/>
                    <a:pt x="115" y="83"/>
                  </a:cubicBezTo>
                  <a:cubicBezTo>
                    <a:pt x="116" y="69"/>
                    <a:pt x="114" y="56"/>
                    <a:pt x="110" y="43"/>
                  </a:cubicBezTo>
                  <a:cubicBezTo>
                    <a:pt x="105" y="29"/>
                    <a:pt x="96" y="16"/>
                    <a:pt x="84" y="8"/>
                  </a:cubicBezTo>
                  <a:cubicBezTo>
                    <a:pt x="78" y="4"/>
                    <a:pt x="71" y="2"/>
                    <a:pt x="64" y="1"/>
                  </a:cubicBezTo>
                  <a:cubicBezTo>
                    <a:pt x="56" y="0"/>
                    <a:pt x="49" y="0"/>
                    <a:pt x="42" y="3"/>
                  </a:cubicBezTo>
                  <a:cubicBezTo>
                    <a:pt x="38" y="5"/>
                    <a:pt x="34" y="7"/>
                    <a:pt x="31" y="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75" name="Freeform 22"/>
            <p:cNvSpPr>
              <a:spLocks/>
            </p:cNvSpPr>
            <p:nvPr/>
          </p:nvSpPr>
          <p:spPr bwMode="auto">
            <a:xfrm>
              <a:off x="2986088" y="3386138"/>
              <a:ext cx="357188" cy="260350"/>
            </a:xfrm>
            <a:custGeom>
              <a:avLst/>
              <a:gdLst>
                <a:gd name="T0" fmla="*/ 18 w 123"/>
                <a:gd name="T1" fmla="*/ 40 h 90"/>
                <a:gd name="T2" fmla="*/ 37 w 123"/>
                <a:gd name="T3" fmla="*/ 14 h 90"/>
                <a:gd name="T4" fmla="*/ 49 w 123"/>
                <a:gd name="T5" fmla="*/ 4 h 90"/>
                <a:gd name="T6" fmla="*/ 64 w 123"/>
                <a:gd name="T7" fmla="*/ 0 h 90"/>
                <a:gd name="T8" fmla="*/ 80 w 123"/>
                <a:gd name="T9" fmla="*/ 7 h 90"/>
                <a:gd name="T10" fmla="*/ 90 w 123"/>
                <a:gd name="T11" fmla="*/ 22 h 90"/>
                <a:gd name="T12" fmla="*/ 98 w 123"/>
                <a:gd name="T13" fmla="*/ 37 h 90"/>
                <a:gd name="T14" fmla="*/ 112 w 123"/>
                <a:gd name="T15" fmla="*/ 49 h 90"/>
                <a:gd name="T16" fmla="*/ 118 w 123"/>
                <a:gd name="T17" fmla="*/ 55 h 90"/>
                <a:gd name="T18" fmla="*/ 122 w 123"/>
                <a:gd name="T19" fmla="*/ 63 h 90"/>
                <a:gd name="T20" fmla="*/ 122 w 123"/>
                <a:gd name="T21" fmla="*/ 72 h 90"/>
                <a:gd name="T22" fmla="*/ 117 w 123"/>
                <a:gd name="T23" fmla="*/ 80 h 90"/>
                <a:gd name="T24" fmla="*/ 100 w 123"/>
                <a:gd name="T25" fmla="*/ 87 h 90"/>
                <a:gd name="T26" fmla="*/ 63 w 123"/>
                <a:gd name="T27" fmla="*/ 86 h 90"/>
                <a:gd name="T28" fmla="*/ 26 w 123"/>
                <a:gd name="T29" fmla="*/ 90 h 90"/>
                <a:gd name="T30" fmla="*/ 9 w 123"/>
                <a:gd name="T31" fmla="*/ 85 h 90"/>
                <a:gd name="T32" fmla="*/ 2 w 123"/>
                <a:gd name="T33" fmla="*/ 78 h 90"/>
                <a:gd name="T34" fmla="*/ 0 w 123"/>
                <a:gd name="T35" fmla="*/ 69 h 90"/>
                <a:gd name="T36" fmla="*/ 1 w 123"/>
                <a:gd name="T37" fmla="*/ 60 h 90"/>
                <a:gd name="T38" fmla="*/ 6 w 123"/>
                <a:gd name="T39" fmla="*/ 53 h 90"/>
                <a:gd name="T40" fmla="*/ 18 w 123"/>
                <a:gd name="T41" fmla="*/ 4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90">
                  <a:moveTo>
                    <a:pt x="18" y="40"/>
                  </a:moveTo>
                  <a:cubicBezTo>
                    <a:pt x="25" y="32"/>
                    <a:pt x="30" y="22"/>
                    <a:pt x="37" y="14"/>
                  </a:cubicBezTo>
                  <a:cubicBezTo>
                    <a:pt x="40" y="10"/>
                    <a:pt x="44" y="6"/>
                    <a:pt x="49" y="4"/>
                  </a:cubicBezTo>
                  <a:cubicBezTo>
                    <a:pt x="54" y="1"/>
                    <a:pt x="59" y="0"/>
                    <a:pt x="64" y="0"/>
                  </a:cubicBezTo>
                  <a:cubicBezTo>
                    <a:pt x="70" y="1"/>
                    <a:pt x="76" y="3"/>
                    <a:pt x="80" y="7"/>
                  </a:cubicBezTo>
                  <a:cubicBezTo>
                    <a:pt x="84" y="12"/>
                    <a:pt x="88" y="17"/>
                    <a:pt x="90" y="22"/>
                  </a:cubicBezTo>
                  <a:cubicBezTo>
                    <a:pt x="93" y="27"/>
                    <a:pt x="94" y="33"/>
                    <a:pt x="98" y="37"/>
                  </a:cubicBezTo>
                  <a:cubicBezTo>
                    <a:pt x="102" y="42"/>
                    <a:pt x="107" y="45"/>
                    <a:pt x="112" y="49"/>
                  </a:cubicBezTo>
                  <a:cubicBezTo>
                    <a:pt x="114" y="51"/>
                    <a:pt x="116" y="53"/>
                    <a:pt x="118" y="55"/>
                  </a:cubicBezTo>
                  <a:cubicBezTo>
                    <a:pt x="120" y="57"/>
                    <a:pt x="122" y="60"/>
                    <a:pt x="122" y="63"/>
                  </a:cubicBezTo>
                  <a:cubicBezTo>
                    <a:pt x="123" y="66"/>
                    <a:pt x="123" y="69"/>
                    <a:pt x="122" y="72"/>
                  </a:cubicBezTo>
                  <a:cubicBezTo>
                    <a:pt x="121" y="75"/>
                    <a:pt x="119" y="78"/>
                    <a:pt x="117" y="80"/>
                  </a:cubicBezTo>
                  <a:cubicBezTo>
                    <a:pt x="112" y="84"/>
                    <a:pt x="106" y="86"/>
                    <a:pt x="100" y="87"/>
                  </a:cubicBezTo>
                  <a:cubicBezTo>
                    <a:pt x="88" y="89"/>
                    <a:pt x="76" y="85"/>
                    <a:pt x="63" y="86"/>
                  </a:cubicBezTo>
                  <a:cubicBezTo>
                    <a:pt x="51" y="86"/>
                    <a:pt x="39" y="90"/>
                    <a:pt x="26" y="90"/>
                  </a:cubicBezTo>
                  <a:cubicBezTo>
                    <a:pt x="20" y="90"/>
                    <a:pt x="14" y="88"/>
                    <a:pt x="9" y="85"/>
                  </a:cubicBezTo>
                  <a:cubicBezTo>
                    <a:pt x="6" y="83"/>
                    <a:pt x="4" y="80"/>
                    <a:pt x="2" y="78"/>
                  </a:cubicBezTo>
                  <a:cubicBezTo>
                    <a:pt x="1" y="75"/>
                    <a:pt x="0" y="72"/>
                    <a:pt x="0" y="69"/>
                  </a:cubicBezTo>
                  <a:cubicBezTo>
                    <a:pt x="0" y="66"/>
                    <a:pt x="0" y="63"/>
                    <a:pt x="1" y="60"/>
                  </a:cubicBezTo>
                  <a:cubicBezTo>
                    <a:pt x="3" y="58"/>
                    <a:pt x="4" y="55"/>
                    <a:pt x="6" y="53"/>
                  </a:cubicBezTo>
                  <a:cubicBezTo>
                    <a:pt x="10" y="48"/>
                    <a:pt x="14" y="44"/>
                    <a:pt x="18" y="40"/>
                  </a:cubicBezTo>
                  <a:close/>
                </a:path>
              </a:pathLst>
            </a:custGeom>
            <a:solidFill>
              <a:srgbClr val="0973D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76" name="Freeform 23"/>
            <p:cNvSpPr>
              <a:spLocks/>
            </p:cNvSpPr>
            <p:nvPr/>
          </p:nvSpPr>
          <p:spPr bwMode="auto">
            <a:xfrm>
              <a:off x="3702050" y="3890963"/>
              <a:ext cx="719138" cy="1403350"/>
            </a:xfrm>
            <a:custGeom>
              <a:avLst/>
              <a:gdLst>
                <a:gd name="T0" fmla="*/ 101 w 249"/>
                <a:gd name="T1" fmla="*/ 183 h 485"/>
                <a:gd name="T2" fmla="*/ 146 w 249"/>
                <a:gd name="T3" fmla="*/ 263 h 485"/>
                <a:gd name="T4" fmla="*/ 142 w 249"/>
                <a:gd name="T5" fmla="*/ 336 h 485"/>
                <a:gd name="T6" fmla="*/ 120 w 249"/>
                <a:gd name="T7" fmla="*/ 405 h 485"/>
                <a:gd name="T8" fmla="*/ 112 w 249"/>
                <a:gd name="T9" fmla="*/ 433 h 485"/>
                <a:gd name="T10" fmla="*/ 116 w 249"/>
                <a:gd name="T11" fmla="*/ 462 h 485"/>
                <a:gd name="T12" fmla="*/ 142 w 249"/>
                <a:gd name="T13" fmla="*/ 482 h 485"/>
                <a:gd name="T14" fmla="*/ 174 w 249"/>
                <a:gd name="T15" fmla="*/ 482 h 485"/>
                <a:gd name="T16" fmla="*/ 204 w 249"/>
                <a:gd name="T17" fmla="*/ 467 h 485"/>
                <a:gd name="T18" fmla="*/ 244 w 249"/>
                <a:gd name="T19" fmla="*/ 396 h 485"/>
                <a:gd name="T20" fmla="*/ 242 w 249"/>
                <a:gd name="T21" fmla="*/ 313 h 485"/>
                <a:gd name="T22" fmla="*/ 211 w 249"/>
                <a:gd name="T23" fmla="*/ 203 h 485"/>
                <a:gd name="T24" fmla="*/ 172 w 249"/>
                <a:gd name="T25" fmla="*/ 129 h 485"/>
                <a:gd name="T26" fmla="*/ 118 w 249"/>
                <a:gd name="T27" fmla="*/ 66 h 485"/>
                <a:gd name="T28" fmla="*/ 85 w 249"/>
                <a:gd name="T29" fmla="*/ 20 h 485"/>
                <a:gd name="T30" fmla="*/ 61 w 249"/>
                <a:gd name="T31" fmla="*/ 4 h 485"/>
                <a:gd name="T32" fmla="*/ 33 w 249"/>
                <a:gd name="T33" fmla="*/ 3 h 485"/>
                <a:gd name="T34" fmla="*/ 6 w 249"/>
                <a:gd name="T35" fmla="*/ 27 h 485"/>
                <a:gd name="T36" fmla="*/ 2 w 249"/>
                <a:gd name="T37" fmla="*/ 64 h 485"/>
                <a:gd name="T38" fmla="*/ 20 w 249"/>
                <a:gd name="T39" fmla="*/ 108 h 485"/>
                <a:gd name="T40" fmla="*/ 54 w 249"/>
                <a:gd name="T41" fmla="*/ 151 h 485"/>
                <a:gd name="T42" fmla="*/ 101 w 249"/>
                <a:gd name="T43" fmla="*/ 183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9" h="485">
                  <a:moveTo>
                    <a:pt x="101" y="183"/>
                  </a:moveTo>
                  <a:cubicBezTo>
                    <a:pt x="126" y="203"/>
                    <a:pt x="141" y="232"/>
                    <a:pt x="146" y="263"/>
                  </a:cubicBezTo>
                  <a:cubicBezTo>
                    <a:pt x="150" y="287"/>
                    <a:pt x="147" y="312"/>
                    <a:pt x="142" y="336"/>
                  </a:cubicBezTo>
                  <a:cubicBezTo>
                    <a:pt x="136" y="360"/>
                    <a:pt x="128" y="383"/>
                    <a:pt x="120" y="405"/>
                  </a:cubicBezTo>
                  <a:cubicBezTo>
                    <a:pt x="116" y="415"/>
                    <a:pt x="113" y="424"/>
                    <a:pt x="112" y="433"/>
                  </a:cubicBezTo>
                  <a:cubicBezTo>
                    <a:pt x="110" y="443"/>
                    <a:pt x="111" y="453"/>
                    <a:pt x="116" y="462"/>
                  </a:cubicBezTo>
                  <a:cubicBezTo>
                    <a:pt x="121" y="472"/>
                    <a:pt x="131" y="478"/>
                    <a:pt x="142" y="482"/>
                  </a:cubicBezTo>
                  <a:cubicBezTo>
                    <a:pt x="152" y="485"/>
                    <a:pt x="164" y="485"/>
                    <a:pt x="174" y="482"/>
                  </a:cubicBezTo>
                  <a:cubicBezTo>
                    <a:pt x="185" y="479"/>
                    <a:pt x="195" y="474"/>
                    <a:pt x="204" y="467"/>
                  </a:cubicBezTo>
                  <a:cubicBezTo>
                    <a:pt x="226" y="450"/>
                    <a:pt x="239" y="424"/>
                    <a:pt x="244" y="396"/>
                  </a:cubicBezTo>
                  <a:cubicBezTo>
                    <a:pt x="249" y="369"/>
                    <a:pt x="247" y="340"/>
                    <a:pt x="242" y="313"/>
                  </a:cubicBezTo>
                  <a:cubicBezTo>
                    <a:pt x="236" y="275"/>
                    <a:pt x="225" y="239"/>
                    <a:pt x="211" y="203"/>
                  </a:cubicBezTo>
                  <a:cubicBezTo>
                    <a:pt x="200" y="177"/>
                    <a:pt x="188" y="151"/>
                    <a:pt x="172" y="129"/>
                  </a:cubicBezTo>
                  <a:cubicBezTo>
                    <a:pt x="155" y="107"/>
                    <a:pt x="134" y="89"/>
                    <a:pt x="118" y="66"/>
                  </a:cubicBezTo>
                  <a:cubicBezTo>
                    <a:pt x="107" y="51"/>
                    <a:pt x="98" y="34"/>
                    <a:pt x="85" y="20"/>
                  </a:cubicBezTo>
                  <a:cubicBezTo>
                    <a:pt x="78" y="14"/>
                    <a:pt x="70" y="8"/>
                    <a:pt x="61" y="4"/>
                  </a:cubicBezTo>
                  <a:cubicBezTo>
                    <a:pt x="52" y="1"/>
                    <a:pt x="42" y="0"/>
                    <a:pt x="33" y="3"/>
                  </a:cubicBezTo>
                  <a:cubicBezTo>
                    <a:pt x="21" y="6"/>
                    <a:pt x="11" y="15"/>
                    <a:pt x="6" y="27"/>
                  </a:cubicBezTo>
                  <a:cubicBezTo>
                    <a:pt x="1" y="38"/>
                    <a:pt x="0" y="51"/>
                    <a:pt x="2" y="64"/>
                  </a:cubicBezTo>
                  <a:cubicBezTo>
                    <a:pt x="4" y="80"/>
                    <a:pt x="12" y="95"/>
                    <a:pt x="20" y="108"/>
                  </a:cubicBezTo>
                  <a:cubicBezTo>
                    <a:pt x="29" y="124"/>
                    <a:pt x="40" y="139"/>
                    <a:pt x="54" y="151"/>
                  </a:cubicBezTo>
                  <a:cubicBezTo>
                    <a:pt x="69" y="163"/>
                    <a:pt x="87" y="171"/>
                    <a:pt x="101" y="183"/>
                  </a:cubicBezTo>
                  <a:close/>
                </a:path>
              </a:pathLst>
            </a:custGeom>
            <a:solidFill>
              <a:srgbClr val="0973D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77" name="Freeform 24"/>
            <p:cNvSpPr>
              <a:spLocks/>
            </p:cNvSpPr>
            <p:nvPr/>
          </p:nvSpPr>
          <p:spPr bwMode="auto">
            <a:xfrm>
              <a:off x="3702050" y="5119688"/>
              <a:ext cx="1003300" cy="1035050"/>
            </a:xfrm>
            <a:custGeom>
              <a:avLst/>
              <a:gdLst>
                <a:gd name="T0" fmla="*/ 345 w 347"/>
                <a:gd name="T1" fmla="*/ 184 h 358"/>
                <a:gd name="T2" fmla="*/ 334 w 347"/>
                <a:gd name="T3" fmla="*/ 203 h 358"/>
                <a:gd name="T4" fmla="*/ 294 w 347"/>
                <a:gd name="T5" fmla="*/ 231 h 358"/>
                <a:gd name="T6" fmla="*/ 220 w 347"/>
                <a:gd name="T7" fmla="*/ 270 h 358"/>
                <a:gd name="T8" fmla="*/ 177 w 347"/>
                <a:gd name="T9" fmla="*/ 305 h 358"/>
                <a:gd name="T10" fmla="*/ 142 w 347"/>
                <a:gd name="T11" fmla="*/ 337 h 358"/>
                <a:gd name="T12" fmla="*/ 98 w 347"/>
                <a:gd name="T13" fmla="*/ 356 h 358"/>
                <a:gd name="T14" fmla="*/ 41 w 347"/>
                <a:gd name="T15" fmla="*/ 347 h 358"/>
                <a:gd name="T16" fmla="*/ 9 w 347"/>
                <a:gd name="T17" fmla="*/ 322 h 358"/>
                <a:gd name="T18" fmla="*/ 0 w 347"/>
                <a:gd name="T19" fmla="*/ 282 h 358"/>
                <a:gd name="T20" fmla="*/ 8 w 347"/>
                <a:gd name="T21" fmla="*/ 210 h 358"/>
                <a:gd name="T22" fmla="*/ 18 w 347"/>
                <a:gd name="T23" fmla="*/ 150 h 358"/>
                <a:gd name="T24" fmla="*/ 19 w 347"/>
                <a:gd name="T25" fmla="*/ 40 h 358"/>
                <a:gd name="T26" fmla="*/ 19 w 347"/>
                <a:gd name="T27" fmla="*/ 22 h 358"/>
                <a:gd name="T28" fmla="*/ 27 w 347"/>
                <a:gd name="T29" fmla="*/ 6 h 358"/>
                <a:gd name="T30" fmla="*/ 43 w 347"/>
                <a:gd name="T31" fmla="*/ 0 h 358"/>
                <a:gd name="T32" fmla="*/ 60 w 347"/>
                <a:gd name="T33" fmla="*/ 1 h 358"/>
                <a:gd name="T34" fmla="*/ 99 w 347"/>
                <a:gd name="T35" fmla="*/ 8 h 358"/>
                <a:gd name="T36" fmla="*/ 123 w 347"/>
                <a:gd name="T37" fmla="*/ 15 h 358"/>
                <a:gd name="T38" fmla="*/ 165 w 347"/>
                <a:gd name="T39" fmla="*/ 19 h 358"/>
                <a:gd name="T40" fmla="*/ 210 w 347"/>
                <a:gd name="T41" fmla="*/ 12 h 358"/>
                <a:gd name="T42" fmla="*/ 229 w 347"/>
                <a:gd name="T43" fmla="*/ 15 h 358"/>
                <a:gd name="T44" fmla="*/ 245 w 347"/>
                <a:gd name="T45" fmla="*/ 24 h 358"/>
                <a:gd name="T46" fmla="*/ 253 w 347"/>
                <a:gd name="T47" fmla="*/ 37 h 358"/>
                <a:gd name="T48" fmla="*/ 257 w 347"/>
                <a:gd name="T49" fmla="*/ 58 h 358"/>
                <a:gd name="T50" fmla="*/ 259 w 347"/>
                <a:gd name="T51" fmla="*/ 77 h 358"/>
                <a:gd name="T52" fmla="*/ 273 w 347"/>
                <a:gd name="T53" fmla="*/ 105 h 358"/>
                <a:gd name="T54" fmla="*/ 296 w 347"/>
                <a:gd name="T55" fmla="*/ 126 h 358"/>
                <a:gd name="T56" fmla="*/ 320 w 347"/>
                <a:gd name="T57" fmla="*/ 145 h 358"/>
                <a:gd name="T58" fmla="*/ 333 w 347"/>
                <a:gd name="T59" fmla="*/ 154 h 358"/>
                <a:gd name="T60" fmla="*/ 342 w 347"/>
                <a:gd name="T61" fmla="*/ 165 h 358"/>
                <a:gd name="T62" fmla="*/ 345 w 347"/>
                <a:gd name="T63" fmla="*/ 184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7" h="358">
                  <a:moveTo>
                    <a:pt x="345" y="184"/>
                  </a:moveTo>
                  <a:cubicBezTo>
                    <a:pt x="342" y="191"/>
                    <a:pt x="339" y="197"/>
                    <a:pt x="334" y="203"/>
                  </a:cubicBezTo>
                  <a:cubicBezTo>
                    <a:pt x="323" y="215"/>
                    <a:pt x="309" y="224"/>
                    <a:pt x="294" y="231"/>
                  </a:cubicBezTo>
                  <a:cubicBezTo>
                    <a:pt x="269" y="244"/>
                    <a:pt x="244" y="255"/>
                    <a:pt x="220" y="270"/>
                  </a:cubicBezTo>
                  <a:cubicBezTo>
                    <a:pt x="205" y="280"/>
                    <a:pt x="191" y="292"/>
                    <a:pt x="177" y="305"/>
                  </a:cubicBezTo>
                  <a:cubicBezTo>
                    <a:pt x="166" y="316"/>
                    <a:pt x="155" y="328"/>
                    <a:pt x="142" y="337"/>
                  </a:cubicBezTo>
                  <a:cubicBezTo>
                    <a:pt x="129" y="346"/>
                    <a:pt x="114" y="353"/>
                    <a:pt x="98" y="356"/>
                  </a:cubicBezTo>
                  <a:cubicBezTo>
                    <a:pt x="78" y="358"/>
                    <a:pt x="58" y="355"/>
                    <a:pt x="41" y="347"/>
                  </a:cubicBezTo>
                  <a:cubicBezTo>
                    <a:pt x="28" y="341"/>
                    <a:pt x="16" y="334"/>
                    <a:pt x="9" y="322"/>
                  </a:cubicBezTo>
                  <a:cubicBezTo>
                    <a:pt x="1" y="310"/>
                    <a:pt x="0" y="296"/>
                    <a:pt x="0" y="282"/>
                  </a:cubicBezTo>
                  <a:cubicBezTo>
                    <a:pt x="0" y="258"/>
                    <a:pt x="4" y="234"/>
                    <a:pt x="8" y="210"/>
                  </a:cubicBezTo>
                  <a:cubicBezTo>
                    <a:pt x="12" y="190"/>
                    <a:pt x="15" y="170"/>
                    <a:pt x="18" y="150"/>
                  </a:cubicBezTo>
                  <a:cubicBezTo>
                    <a:pt x="21" y="114"/>
                    <a:pt x="21" y="77"/>
                    <a:pt x="19" y="40"/>
                  </a:cubicBezTo>
                  <a:cubicBezTo>
                    <a:pt x="18" y="34"/>
                    <a:pt x="18" y="28"/>
                    <a:pt x="19" y="22"/>
                  </a:cubicBezTo>
                  <a:cubicBezTo>
                    <a:pt x="20" y="16"/>
                    <a:pt x="22" y="10"/>
                    <a:pt x="27" y="6"/>
                  </a:cubicBezTo>
                  <a:cubicBezTo>
                    <a:pt x="31" y="2"/>
                    <a:pt x="37" y="0"/>
                    <a:pt x="43" y="0"/>
                  </a:cubicBezTo>
                  <a:cubicBezTo>
                    <a:pt x="48" y="0"/>
                    <a:pt x="54" y="0"/>
                    <a:pt x="60" y="1"/>
                  </a:cubicBezTo>
                  <a:cubicBezTo>
                    <a:pt x="73" y="3"/>
                    <a:pt x="86" y="5"/>
                    <a:pt x="99" y="8"/>
                  </a:cubicBezTo>
                  <a:cubicBezTo>
                    <a:pt x="107" y="10"/>
                    <a:pt x="115" y="13"/>
                    <a:pt x="123" y="15"/>
                  </a:cubicBezTo>
                  <a:cubicBezTo>
                    <a:pt x="137" y="19"/>
                    <a:pt x="151" y="21"/>
                    <a:pt x="165" y="19"/>
                  </a:cubicBezTo>
                  <a:cubicBezTo>
                    <a:pt x="180" y="17"/>
                    <a:pt x="195" y="12"/>
                    <a:pt x="210" y="12"/>
                  </a:cubicBezTo>
                  <a:cubicBezTo>
                    <a:pt x="216" y="12"/>
                    <a:pt x="223" y="13"/>
                    <a:pt x="229" y="15"/>
                  </a:cubicBezTo>
                  <a:cubicBezTo>
                    <a:pt x="235" y="17"/>
                    <a:pt x="241" y="20"/>
                    <a:pt x="245" y="24"/>
                  </a:cubicBezTo>
                  <a:cubicBezTo>
                    <a:pt x="248" y="28"/>
                    <a:pt x="251" y="32"/>
                    <a:pt x="253" y="37"/>
                  </a:cubicBezTo>
                  <a:cubicBezTo>
                    <a:pt x="255" y="43"/>
                    <a:pt x="257" y="51"/>
                    <a:pt x="257" y="58"/>
                  </a:cubicBezTo>
                  <a:cubicBezTo>
                    <a:pt x="258" y="64"/>
                    <a:pt x="258" y="71"/>
                    <a:pt x="259" y="77"/>
                  </a:cubicBezTo>
                  <a:cubicBezTo>
                    <a:pt x="261" y="87"/>
                    <a:pt x="266" y="96"/>
                    <a:pt x="273" y="105"/>
                  </a:cubicBezTo>
                  <a:cubicBezTo>
                    <a:pt x="280" y="113"/>
                    <a:pt x="288" y="119"/>
                    <a:pt x="296" y="126"/>
                  </a:cubicBezTo>
                  <a:cubicBezTo>
                    <a:pt x="304" y="133"/>
                    <a:pt x="312" y="140"/>
                    <a:pt x="320" y="145"/>
                  </a:cubicBezTo>
                  <a:cubicBezTo>
                    <a:pt x="324" y="148"/>
                    <a:pt x="329" y="151"/>
                    <a:pt x="333" y="154"/>
                  </a:cubicBezTo>
                  <a:cubicBezTo>
                    <a:pt x="336" y="157"/>
                    <a:pt x="340" y="160"/>
                    <a:pt x="342" y="165"/>
                  </a:cubicBezTo>
                  <a:cubicBezTo>
                    <a:pt x="346" y="171"/>
                    <a:pt x="347" y="178"/>
                    <a:pt x="345" y="18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973D1"/>
              </a:solidFill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78" name="Freeform 25"/>
            <p:cNvSpPr>
              <a:spLocks/>
            </p:cNvSpPr>
            <p:nvPr/>
          </p:nvSpPr>
          <p:spPr bwMode="auto">
            <a:xfrm>
              <a:off x="3829050" y="4313238"/>
              <a:ext cx="330200" cy="936625"/>
            </a:xfrm>
            <a:custGeom>
              <a:avLst/>
              <a:gdLst>
                <a:gd name="T0" fmla="*/ 0 w 114"/>
                <a:gd name="T1" fmla="*/ 0 h 324"/>
                <a:gd name="T2" fmla="*/ 6 w 114"/>
                <a:gd name="T3" fmla="*/ 5 h 324"/>
                <a:gd name="T4" fmla="*/ 44 w 114"/>
                <a:gd name="T5" fmla="*/ 43 h 324"/>
                <a:gd name="T6" fmla="*/ 99 w 114"/>
                <a:gd name="T7" fmla="*/ 127 h 324"/>
                <a:gd name="T8" fmla="*/ 92 w 114"/>
                <a:gd name="T9" fmla="*/ 193 h 324"/>
                <a:gd name="T10" fmla="*/ 59 w 114"/>
                <a:gd name="T11" fmla="*/ 289 h 324"/>
                <a:gd name="T12" fmla="*/ 65 w 114"/>
                <a:gd name="T13" fmla="*/ 307 h 324"/>
                <a:gd name="T14" fmla="*/ 65 w 114"/>
                <a:gd name="T15" fmla="*/ 324 h 324"/>
                <a:gd name="T16" fmla="*/ 65 w 114"/>
                <a:gd name="T17" fmla="*/ 320 h 324"/>
                <a:gd name="T18" fmla="*/ 77 w 114"/>
                <a:gd name="T19" fmla="*/ 275 h 324"/>
                <a:gd name="T20" fmla="*/ 107 w 114"/>
                <a:gd name="T21" fmla="*/ 189 h 324"/>
                <a:gd name="T22" fmla="*/ 109 w 114"/>
                <a:gd name="T23" fmla="*/ 114 h 324"/>
                <a:gd name="T24" fmla="*/ 60 w 114"/>
                <a:gd name="T25" fmla="*/ 34 h 324"/>
                <a:gd name="T26" fmla="*/ 0 w 114"/>
                <a:gd name="T27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4" h="324">
                  <a:moveTo>
                    <a:pt x="0" y="0"/>
                  </a:moveTo>
                  <a:cubicBezTo>
                    <a:pt x="2" y="1"/>
                    <a:pt x="4" y="3"/>
                    <a:pt x="6" y="5"/>
                  </a:cubicBezTo>
                  <a:cubicBezTo>
                    <a:pt x="21" y="17"/>
                    <a:pt x="29" y="31"/>
                    <a:pt x="44" y="43"/>
                  </a:cubicBezTo>
                  <a:cubicBezTo>
                    <a:pt x="69" y="63"/>
                    <a:pt x="94" y="96"/>
                    <a:pt x="99" y="127"/>
                  </a:cubicBezTo>
                  <a:cubicBezTo>
                    <a:pt x="103" y="151"/>
                    <a:pt x="98" y="164"/>
                    <a:pt x="92" y="193"/>
                  </a:cubicBezTo>
                  <a:cubicBezTo>
                    <a:pt x="86" y="221"/>
                    <a:pt x="68" y="261"/>
                    <a:pt x="59" y="289"/>
                  </a:cubicBezTo>
                  <a:cubicBezTo>
                    <a:pt x="55" y="300"/>
                    <a:pt x="66" y="295"/>
                    <a:pt x="65" y="307"/>
                  </a:cubicBezTo>
                  <a:cubicBezTo>
                    <a:pt x="64" y="312"/>
                    <a:pt x="64" y="318"/>
                    <a:pt x="65" y="324"/>
                  </a:cubicBezTo>
                  <a:cubicBezTo>
                    <a:pt x="65" y="323"/>
                    <a:pt x="65" y="322"/>
                    <a:pt x="65" y="320"/>
                  </a:cubicBezTo>
                  <a:cubicBezTo>
                    <a:pt x="67" y="305"/>
                    <a:pt x="72" y="290"/>
                    <a:pt x="77" y="275"/>
                  </a:cubicBezTo>
                  <a:cubicBezTo>
                    <a:pt x="87" y="246"/>
                    <a:pt x="99" y="218"/>
                    <a:pt x="107" y="189"/>
                  </a:cubicBezTo>
                  <a:cubicBezTo>
                    <a:pt x="114" y="160"/>
                    <a:pt x="114" y="139"/>
                    <a:pt x="109" y="114"/>
                  </a:cubicBezTo>
                  <a:cubicBezTo>
                    <a:pt x="104" y="82"/>
                    <a:pt x="86" y="53"/>
                    <a:pt x="60" y="34"/>
                  </a:cubicBezTo>
                  <a:cubicBezTo>
                    <a:pt x="41" y="20"/>
                    <a:pt x="20" y="12"/>
                    <a:pt x="0" y="0"/>
                  </a:cubicBezTo>
                  <a:close/>
                </a:path>
              </a:pathLst>
            </a:custGeom>
            <a:solidFill>
              <a:srgbClr val="FDFDFB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79" name="Freeform 26"/>
            <p:cNvSpPr>
              <a:spLocks/>
            </p:cNvSpPr>
            <p:nvPr/>
          </p:nvSpPr>
          <p:spPr bwMode="auto">
            <a:xfrm>
              <a:off x="3938588" y="5019675"/>
              <a:ext cx="422275" cy="346075"/>
            </a:xfrm>
            <a:custGeom>
              <a:avLst/>
              <a:gdLst>
                <a:gd name="T0" fmla="*/ 144 w 146"/>
                <a:gd name="T1" fmla="*/ 33 h 120"/>
                <a:gd name="T2" fmla="*/ 136 w 146"/>
                <a:gd name="T3" fmla="*/ 21 h 120"/>
                <a:gd name="T4" fmla="*/ 124 w 146"/>
                <a:gd name="T5" fmla="*/ 14 h 120"/>
                <a:gd name="T6" fmla="*/ 97 w 146"/>
                <a:gd name="T7" fmla="*/ 7 h 120"/>
                <a:gd name="T8" fmla="*/ 70 w 146"/>
                <a:gd name="T9" fmla="*/ 2 h 120"/>
                <a:gd name="T10" fmla="*/ 43 w 146"/>
                <a:gd name="T11" fmla="*/ 2 h 120"/>
                <a:gd name="T12" fmla="*/ 22 w 146"/>
                <a:gd name="T13" fmla="*/ 13 h 120"/>
                <a:gd name="T14" fmla="*/ 8 w 146"/>
                <a:gd name="T15" fmla="*/ 32 h 120"/>
                <a:gd name="T16" fmla="*/ 1 w 146"/>
                <a:gd name="T17" fmla="*/ 74 h 120"/>
                <a:gd name="T18" fmla="*/ 12 w 146"/>
                <a:gd name="T19" fmla="*/ 103 h 120"/>
                <a:gd name="T20" fmla="*/ 33 w 146"/>
                <a:gd name="T21" fmla="*/ 116 h 120"/>
                <a:gd name="T22" fmla="*/ 77 w 146"/>
                <a:gd name="T23" fmla="*/ 116 h 120"/>
                <a:gd name="T24" fmla="*/ 134 w 146"/>
                <a:gd name="T25" fmla="*/ 73 h 120"/>
                <a:gd name="T26" fmla="*/ 144 w 146"/>
                <a:gd name="T27" fmla="*/ 51 h 120"/>
                <a:gd name="T28" fmla="*/ 144 w 146"/>
                <a:gd name="T29" fmla="*/ 3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6" h="120">
                  <a:moveTo>
                    <a:pt x="144" y="33"/>
                  </a:moveTo>
                  <a:cubicBezTo>
                    <a:pt x="142" y="28"/>
                    <a:pt x="139" y="25"/>
                    <a:pt x="136" y="21"/>
                  </a:cubicBezTo>
                  <a:cubicBezTo>
                    <a:pt x="132" y="18"/>
                    <a:pt x="128" y="16"/>
                    <a:pt x="124" y="14"/>
                  </a:cubicBezTo>
                  <a:cubicBezTo>
                    <a:pt x="115" y="10"/>
                    <a:pt x="106" y="9"/>
                    <a:pt x="97" y="7"/>
                  </a:cubicBezTo>
                  <a:cubicBezTo>
                    <a:pt x="88" y="6"/>
                    <a:pt x="79" y="4"/>
                    <a:pt x="70" y="2"/>
                  </a:cubicBezTo>
                  <a:cubicBezTo>
                    <a:pt x="61" y="1"/>
                    <a:pt x="52" y="0"/>
                    <a:pt x="43" y="2"/>
                  </a:cubicBezTo>
                  <a:cubicBezTo>
                    <a:pt x="35" y="3"/>
                    <a:pt x="28" y="7"/>
                    <a:pt x="22" y="13"/>
                  </a:cubicBezTo>
                  <a:cubicBezTo>
                    <a:pt x="16" y="18"/>
                    <a:pt x="11" y="25"/>
                    <a:pt x="8" y="32"/>
                  </a:cubicBezTo>
                  <a:cubicBezTo>
                    <a:pt x="2" y="45"/>
                    <a:pt x="0" y="60"/>
                    <a:pt x="1" y="74"/>
                  </a:cubicBezTo>
                  <a:cubicBezTo>
                    <a:pt x="2" y="85"/>
                    <a:pt x="5" y="95"/>
                    <a:pt x="12" y="103"/>
                  </a:cubicBezTo>
                  <a:cubicBezTo>
                    <a:pt x="17" y="110"/>
                    <a:pt x="25" y="114"/>
                    <a:pt x="33" y="116"/>
                  </a:cubicBezTo>
                  <a:cubicBezTo>
                    <a:pt x="48" y="120"/>
                    <a:pt x="63" y="120"/>
                    <a:pt x="77" y="116"/>
                  </a:cubicBezTo>
                  <a:cubicBezTo>
                    <a:pt x="100" y="108"/>
                    <a:pt x="120" y="93"/>
                    <a:pt x="134" y="73"/>
                  </a:cubicBezTo>
                  <a:cubicBezTo>
                    <a:pt x="139" y="66"/>
                    <a:pt x="143" y="59"/>
                    <a:pt x="144" y="51"/>
                  </a:cubicBezTo>
                  <a:cubicBezTo>
                    <a:pt x="146" y="45"/>
                    <a:pt x="146" y="39"/>
                    <a:pt x="144" y="33"/>
                  </a:cubicBezTo>
                  <a:close/>
                </a:path>
              </a:pathLst>
            </a:custGeom>
            <a:solidFill>
              <a:srgbClr val="0973D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80" name="Freeform 27"/>
            <p:cNvSpPr>
              <a:spLocks/>
            </p:cNvSpPr>
            <p:nvPr/>
          </p:nvSpPr>
          <p:spPr bwMode="auto">
            <a:xfrm>
              <a:off x="3956050" y="5005388"/>
              <a:ext cx="301625" cy="100013"/>
            </a:xfrm>
            <a:custGeom>
              <a:avLst/>
              <a:gdLst>
                <a:gd name="T0" fmla="*/ 35 w 104"/>
                <a:gd name="T1" fmla="*/ 3 h 35"/>
                <a:gd name="T2" fmla="*/ 2 w 104"/>
                <a:gd name="T3" fmla="*/ 26 h 35"/>
                <a:gd name="T4" fmla="*/ 0 w 104"/>
                <a:gd name="T5" fmla="*/ 35 h 35"/>
                <a:gd name="T6" fmla="*/ 8 w 104"/>
                <a:gd name="T7" fmla="*/ 31 h 35"/>
                <a:gd name="T8" fmla="*/ 26 w 104"/>
                <a:gd name="T9" fmla="*/ 20 h 35"/>
                <a:gd name="T10" fmla="*/ 51 w 104"/>
                <a:gd name="T11" fmla="*/ 14 h 35"/>
                <a:gd name="T12" fmla="*/ 69 w 104"/>
                <a:gd name="T13" fmla="*/ 13 h 35"/>
                <a:gd name="T14" fmla="*/ 104 w 104"/>
                <a:gd name="T15" fmla="*/ 14 h 35"/>
                <a:gd name="T16" fmla="*/ 80 w 104"/>
                <a:gd name="T17" fmla="*/ 6 h 35"/>
                <a:gd name="T18" fmla="*/ 58 w 104"/>
                <a:gd name="T19" fmla="*/ 1 h 35"/>
                <a:gd name="T20" fmla="*/ 35 w 104"/>
                <a:gd name="T21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35">
                  <a:moveTo>
                    <a:pt x="35" y="3"/>
                  </a:moveTo>
                  <a:cubicBezTo>
                    <a:pt x="2" y="26"/>
                    <a:pt x="2" y="26"/>
                    <a:pt x="2" y="2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4"/>
                    <a:pt x="6" y="32"/>
                    <a:pt x="8" y="31"/>
                  </a:cubicBezTo>
                  <a:cubicBezTo>
                    <a:pt x="14" y="27"/>
                    <a:pt x="19" y="23"/>
                    <a:pt x="26" y="20"/>
                  </a:cubicBezTo>
                  <a:cubicBezTo>
                    <a:pt x="33" y="16"/>
                    <a:pt x="42" y="15"/>
                    <a:pt x="51" y="14"/>
                  </a:cubicBezTo>
                  <a:cubicBezTo>
                    <a:pt x="57" y="13"/>
                    <a:pt x="63" y="13"/>
                    <a:pt x="69" y="13"/>
                  </a:cubicBezTo>
                  <a:cubicBezTo>
                    <a:pt x="81" y="12"/>
                    <a:pt x="93" y="13"/>
                    <a:pt x="104" y="14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73" y="3"/>
                    <a:pt x="65" y="1"/>
                    <a:pt x="58" y="1"/>
                  </a:cubicBezTo>
                  <a:cubicBezTo>
                    <a:pt x="50" y="0"/>
                    <a:pt x="43" y="1"/>
                    <a:pt x="35" y="3"/>
                  </a:cubicBezTo>
                  <a:close/>
                </a:path>
              </a:pathLst>
            </a:custGeom>
            <a:solidFill>
              <a:srgbClr val="FDFDFB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81" name="Freeform 28"/>
            <p:cNvSpPr>
              <a:spLocks/>
            </p:cNvSpPr>
            <p:nvPr/>
          </p:nvSpPr>
          <p:spPr bwMode="auto">
            <a:xfrm>
              <a:off x="2219325" y="4192588"/>
              <a:ext cx="600075" cy="1323975"/>
            </a:xfrm>
            <a:custGeom>
              <a:avLst/>
              <a:gdLst>
                <a:gd name="T0" fmla="*/ 142 w 207"/>
                <a:gd name="T1" fmla="*/ 0 h 458"/>
                <a:gd name="T2" fmla="*/ 109 w 207"/>
                <a:gd name="T3" fmla="*/ 42 h 458"/>
                <a:gd name="T4" fmla="*/ 99 w 207"/>
                <a:gd name="T5" fmla="*/ 49 h 458"/>
                <a:gd name="T6" fmla="*/ 91 w 207"/>
                <a:gd name="T7" fmla="*/ 58 h 458"/>
                <a:gd name="T8" fmla="*/ 90 w 207"/>
                <a:gd name="T9" fmla="*/ 60 h 458"/>
                <a:gd name="T10" fmla="*/ 72 w 207"/>
                <a:gd name="T11" fmla="*/ 115 h 458"/>
                <a:gd name="T12" fmla="*/ 49 w 207"/>
                <a:gd name="T13" fmla="*/ 176 h 458"/>
                <a:gd name="T14" fmla="*/ 21 w 207"/>
                <a:gd name="T15" fmla="*/ 231 h 458"/>
                <a:gd name="T16" fmla="*/ 4 w 207"/>
                <a:gd name="T17" fmla="*/ 271 h 458"/>
                <a:gd name="T18" fmla="*/ 19 w 207"/>
                <a:gd name="T19" fmla="*/ 339 h 458"/>
                <a:gd name="T20" fmla="*/ 116 w 207"/>
                <a:gd name="T21" fmla="*/ 430 h 458"/>
                <a:gd name="T22" fmla="*/ 157 w 207"/>
                <a:gd name="T23" fmla="*/ 450 h 458"/>
                <a:gd name="T24" fmla="*/ 182 w 207"/>
                <a:gd name="T25" fmla="*/ 458 h 458"/>
                <a:gd name="T26" fmla="*/ 195 w 207"/>
                <a:gd name="T27" fmla="*/ 456 h 458"/>
                <a:gd name="T28" fmla="*/ 204 w 207"/>
                <a:gd name="T29" fmla="*/ 447 h 458"/>
                <a:gd name="T30" fmla="*/ 207 w 207"/>
                <a:gd name="T31" fmla="*/ 434 h 458"/>
                <a:gd name="T32" fmla="*/ 202 w 207"/>
                <a:gd name="T33" fmla="*/ 422 h 458"/>
                <a:gd name="T34" fmla="*/ 190 w 207"/>
                <a:gd name="T35" fmla="*/ 409 h 458"/>
                <a:gd name="T36" fmla="*/ 175 w 207"/>
                <a:gd name="T37" fmla="*/ 398 h 458"/>
                <a:gd name="T38" fmla="*/ 109 w 207"/>
                <a:gd name="T39" fmla="*/ 321 h 458"/>
                <a:gd name="T40" fmla="*/ 90 w 207"/>
                <a:gd name="T41" fmla="*/ 295 h 458"/>
                <a:gd name="T42" fmla="*/ 77 w 207"/>
                <a:gd name="T43" fmla="*/ 263 h 458"/>
                <a:gd name="T44" fmla="*/ 82 w 207"/>
                <a:gd name="T45" fmla="*/ 177 h 458"/>
                <a:gd name="T46" fmla="*/ 97 w 207"/>
                <a:gd name="T47" fmla="*/ 142 h 458"/>
                <a:gd name="T48" fmla="*/ 123 w 207"/>
                <a:gd name="T49" fmla="*/ 71 h 458"/>
                <a:gd name="T50" fmla="*/ 130 w 207"/>
                <a:gd name="T51" fmla="*/ 50 h 458"/>
                <a:gd name="T52" fmla="*/ 142 w 207"/>
                <a:gd name="T53" fmla="*/ 0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7" h="458">
                  <a:moveTo>
                    <a:pt x="142" y="0"/>
                  </a:moveTo>
                  <a:cubicBezTo>
                    <a:pt x="135" y="16"/>
                    <a:pt x="123" y="31"/>
                    <a:pt x="109" y="42"/>
                  </a:cubicBezTo>
                  <a:cubicBezTo>
                    <a:pt x="105" y="44"/>
                    <a:pt x="102" y="46"/>
                    <a:pt x="99" y="49"/>
                  </a:cubicBezTo>
                  <a:cubicBezTo>
                    <a:pt x="95" y="51"/>
                    <a:pt x="93" y="54"/>
                    <a:pt x="91" y="58"/>
                  </a:cubicBezTo>
                  <a:cubicBezTo>
                    <a:pt x="90" y="58"/>
                    <a:pt x="90" y="59"/>
                    <a:pt x="90" y="60"/>
                  </a:cubicBezTo>
                  <a:cubicBezTo>
                    <a:pt x="81" y="77"/>
                    <a:pt x="78" y="96"/>
                    <a:pt x="72" y="115"/>
                  </a:cubicBezTo>
                  <a:cubicBezTo>
                    <a:pt x="66" y="136"/>
                    <a:pt x="58" y="157"/>
                    <a:pt x="49" y="176"/>
                  </a:cubicBezTo>
                  <a:cubicBezTo>
                    <a:pt x="40" y="195"/>
                    <a:pt x="30" y="213"/>
                    <a:pt x="21" y="231"/>
                  </a:cubicBezTo>
                  <a:cubicBezTo>
                    <a:pt x="14" y="244"/>
                    <a:pt x="7" y="257"/>
                    <a:pt x="4" y="271"/>
                  </a:cubicBezTo>
                  <a:cubicBezTo>
                    <a:pt x="0" y="295"/>
                    <a:pt x="8" y="318"/>
                    <a:pt x="19" y="339"/>
                  </a:cubicBezTo>
                  <a:cubicBezTo>
                    <a:pt x="42" y="378"/>
                    <a:pt x="77" y="408"/>
                    <a:pt x="116" y="430"/>
                  </a:cubicBezTo>
                  <a:cubicBezTo>
                    <a:pt x="130" y="437"/>
                    <a:pt x="143" y="444"/>
                    <a:pt x="157" y="450"/>
                  </a:cubicBezTo>
                  <a:cubicBezTo>
                    <a:pt x="165" y="454"/>
                    <a:pt x="173" y="457"/>
                    <a:pt x="182" y="458"/>
                  </a:cubicBezTo>
                  <a:cubicBezTo>
                    <a:pt x="186" y="458"/>
                    <a:pt x="191" y="457"/>
                    <a:pt x="195" y="456"/>
                  </a:cubicBezTo>
                  <a:cubicBezTo>
                    <a:pt x="199" y="454"/>
                    <a:pt x="202" y="451"/>
                    <a:pt x="204" y="447"/>
                  </a:cubicBezTo>
                  <a:cubicBezTo>
                    <a:pt x="207" y="443"/>
                    <a:pt x="207" y="439"/>
                    <a:pt x="207" y="434"/>
                  </a:cubicBezTo>
                  <a:cubicBezTo>
                    <a:pt x="206" y="430"/>
                    <a:pt x="205" y="425"/>
                    <a:pt x="202" y="422"/>
                  </a:cubicBezTo>
                  <a:cubicBezTo>
                    <a:pt x="199" y="416"/>
                    <a:pt x="194" y="412"/>
                    <a:pt x="190" y="409"/>
                  </a:cubicBezTo>
                  <a:cubicBezTo>
                    <a:pt x="185" y="405"/>
                    <a:pt x="180" y="402"/>
                    <a:pt x="175" y="398"/>
                  </a:cubicBezTo>
                  <a:cubicBezTo>
                    <a:pt x="147" y="378"/>
                    <a:pt x="129" y="349"/>
                    <a:pt x="109" y="321"/>
                  </a:cubicBezTo>
                  <a:cubicBezTo>
                    <a:pt x="102" y="313"/>
                    <a:pt x="96" y="304"/>
                    <a:pt x="90" y="295"/>
                  </a:cubicBezTo>
                  <a:cubicBezTo>
                    <a:pt x="84" y="285"/>
                    <a:pt x="80" y="274"/>
                    <a:pt x="77" y="263"/>
                  </a:cubicBezTo>
                  <a:cubicBezTo>
                    <a:pt x="69" y="235"/>
                    <a:pt x="72" y="204"/>
                    <a:pt x="82" y="177"/>
                  </a:cubicBezTo>
                  <a:cubicBezTo>
                    <a:pt x="86" y="165"/>
                    <a:pt x="92" y="154"/>
                    <a:pt x="97" y="142"/>
                  </a:cubicBezTo>
                  <a:cubicBezTo>
                    <a:pt x="107" y="119"/>
                    <a:pt x="115" y="95"/>
                    <a:pt x="123" y="71"/>
                  </a:cubicBezTo>
                  <a:cubicBezTo>
                    <a:pt x="125" y="64"/>
                    <a:pt x="128" y="57"/>
                    <a:pt x="130" y="50"/>
                  </a:cubicBezTo>
                  <a:cubicBezTo>
                    <a:pt x="135" y="33"/>
                    <a:pt x="139" y="17"/>
                    <a:pt x="142" y="0"/>
                  </a:cubicBezTo>
                  <a:close/>
                </a:path>
              </a:pathLst>
            </a:custGeom>
            <a:solidFill>
              <a:srgbClr val="FDFDFB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82" name="Freeform 29"/>
            <p:cNvSpPr>
              <a:spLocks/>
            </p:cNvSpPr>
            <p:nvPr/>
          </p:nvSpPr>
          <p:spPr bwMode="auto">
            <a:xfrm>
              <a:off x="2201863" y="3946525"/>
              <a:ext cx="709613" cy="1662113"/>
            </a:xfrm>
            <a:custGeom>
              <a:avLst/>
              <a:gdLst>
                <a:gd name="T0" fmla="*/ 193 w 245"/>
                <a:gd name="T1" fmla="*/ 0 h 575"/>
                <a:gd name="T2" fmla="*/ 160 w 245"/>
                <a:gd name="T3" fmla="*/ 42 h 575"/>
                <a:gd name="T4" fmla="*/ 125 w 245"/>
                <a:gd name="T5" fmla="*/ 85 h 575"/>
                <a:gd name="T6" fmla="*/ 88 w 245"/>
                <a:gd name="T7" fmla="*/ 141 h 575"/>
                <a:gd name="T8" fmla="*/ 70 w 245"/>
                <a:gd name="T9" fmla="*/ 196 h 575"/>
                <a:gd name="T10" fmla="*/ 47 w 245"/>
                <a:gd name="T11" fmla="*/ 257 h 575"/>
                <a:gd name="T12" fmla="*/ 19 w 245"/>
                <a:gd name="T13" fmla="*/ 312 h 575"/>
                <a:gd name="T14" fmla="*/ 2 w 245"/>
                <a:gd name="T15" fmla="*/ 352 h 575"/>
                <a:gd name="T16" fmla="*/ 5 w 245"/>
                <a:gd name="T17" fmla="*/ 387 h 575"/>
                <a:gd name="T18" fmla="*/ 17 w 245"/>
                <a:gd name="T19" fmla="*/ 420 h 575"/>
                <a:gd name="T20" fmla="*/ 114 w 245"/>
                <a:gd name="T21" fmla="*/ 531 h 575"/>
                <a:gd name="T22" fmla="*/ 173 w 245"/>
                <a:gd name="T23" fmla="*/ 565 h 575"/>
                <a:gd name="T24" fmla="*/ 208 w 245"/>
                <a:gd name="T25" fmla="*/ 575 h 575"/>
                <a:gd name="T26" fmla="*/ 226 w 245"/>
                <a:gd name="T27" fmla="*/ 572 h 575"/>
                <a:gd name="T28" fmla="*/ 240 w 245"/>
                <a:gd name="T29" fmla="*/ 560 h 575"/>
                <a:gd name="T30" fmla="*/ 244 w 245"/>
                <a:gd name="T31" fmla="*/ 539 h 575"/>
                <a:gd name="T32" fmla="*/ 237 w 245"/>
                <a:gd name="T33" fmla="*/ 518 h 575"/>
                <a:gd name="T34" fmla="*/ 198 w 245"/>
                <a:gd name="T35" fmla="*/ 479 h 575"/>
                <a:gd name="T36" fmla="*/ 107 w 245"/>
                <a:gd name="T37" fmla="*/ 402 h 575"/>
                <a:gd name="T38" fmla="*/ 85 w 245"/>
                <a:gd name="T39" fmla="*/ 377 h 575"/>
                <a:gd name="T40" fmla="*/ 74 w 245"/>
                <a:gd name="T41" fmla="*/ 346 h 575"/>
                <a:gd name="T42" fmla="*/ 80 w 245"/>
                <a:gd name="T43" fmla="*/ 258 h 575"/>
                <a:gd name="T44" fmla="*/ 94 w 245"/>
                <a:gd name="T45" fmla="*/ 226 h 575"/>
                <a:gd name="T46" fmla="*/ 122 w 245"/>
                <a:gd name="T47" fmla="*/ 172 h 575"/>
                <a:gd name="T48" fmla="*/ 167 w 245"/>
                <a:gd name="T49" fmla="*/ 111 h 575"/>
                <a:gd name="T50" fmla="*/ 184 w 245"/>
                <a:gd name="T51" fmla="*/ 50 h 575"/>
                <a:gd name="T52" fmla="*/ 193 w 245"/>
                <a:gd name="T53" fmla="*/ 0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5" h="575">
                  <a:moveTo>
                    <a:pt x="193" y="0"/>
                  </a:moveTo>
                  <a:cubicBezTo>
                    <a:pt x="182" y="14"/>
                    <a:pt x="171" y="28"/>
                    <a:pt x="160" y="42"/>
                  </a:cubicBezTo>
                  <a:cubicBezTo>
                    <a:pt x="148" y="56"/>
                    <a:pt x="137" y="71"/>
                    <a:pt x="125" y="85"/>
                  </a:cubicBezTo>
                  <a:cubicBezTo>
                    <a:pt x="111" y="103"/>
                    <a:pt x="97" y="120"/>
                    <a:pt x="88" y="141"/>
                  </a:cubicBezTo>
                  <a:cubicBezTo>
                    <a:pt x="80" y="158"/>
                    <a:pt x="76" y="178"/>
                    <a:pt x="70" y="196"/>
                  </a:cubicBezTo>
                  <a:cubicBezTo>
                    <a:pt x="64" y="217"/>
                    <a:pt x="56" y="238"/>
                    <a:pt x="47" y="257"/>
                  </a:cubicBezTo>
                  <a:cubicBezTo>
                    <a:pt x="38" y="276"/>
                    <a:pt x="28" y="294"/>
                    <a:pt x="19" y="312"/>
                  </a:cubicBezTo>
                  <a:cubicBezTo>
                    <a:pt x="12" y="325"/>
                    <a:pt x="5" y="338"/>
                    <a:pt x="2" y="352"/>
                  </a:cubicBezTo>
                  <a:cubicBezTo>
                    <a:pt x="0" y="364"/>
                    <a:pt x="2" y="376"/>
                    <a:pt x="5" y="387"/>
                  </a:cubicBezTo>
                  <a:cubicBezTo>
                    <a:pt x="7" y="398"/>
                    <a:pt x="12" y="409"/>
                    <a:pt x="17" y="420"/>
                  </a:cubicBezTo>
                  <a:cubicBezTo>
                    <a:pt x="40" y="464"/>
                    <a:pt x="74" y="502"/>
                    <a:pt x="114" y="531"/>
                  </a:cubicBezTo>
                  <a:cubicBezTo>
                    <a:pt x="133" y="545"/>
                    <a:pt x="152" y="556"/>
                    <a:pt x="173" y="565"/>
                  </a:cubicBezTo>
                  <a:cubicBezTo>
                    <a:pt x="184" y="570"/>
                    <a:pt x="196" y="575"/>
                    <a:pt x="208" y="575"/>
                  </a:cubicBezTo>
                  <a:cubicBezTo>
                    <a:pt x="214" y="575"/>
                    <a:pt x="220" y="574"/>
                    <a:pt x="226" y="572"/>
                  </a:cubicBezTo>
                  <a:cubicBezTo>
                    <a:pt x="231" y="569"/>
                    <a:pt x="236" y="565"/>
                    <a:pt x="240" y="560"/>
                  </a:cubicBezTo>
                  <a:cubicBezTo>
                    <a:pt x="244" y="554"/>
                    <a:pt x="245" y="546"/>
                    <a:pt x="244" y="539"/>
                  </a:cubicBezTo>
                  <a:cubicBezTo>
                    <a:pt x="244" y="531"/>
                    <a:pt x="241" y="524"/>
                    <a:pt x="237" y="518"/>
                  </a:cubicBezTo>
                  <a:cubicBezTo>
                    <a:pt x="227" y="502"/>
                    <a:pt x="212" y="491"/>
                    <a:pt x="198" y="479"/>
                  </a:cubicBezTo>
                  <a:cubicBezTo>
                    <a:pt x="166" y="455"/>
                    <a:pt x="136" y="429"/>
                    <a:pt x="107" y="402"/>
                  </a:cubicBezTo>
                  <a:cubicBezTo>
                    <a:pt x="99" y="395"/>
                    <a:pt x="90" y="387"/>
                    <a:pt x="85" y="377"/>
                  </a:cubicBezTo>
                  <a:cubicBezTo>
                    <a:pt x="79" y="368"/>
                    <a:pt x="76" y="357"/>
                    <a:pt x="74" y="346"/>
                  </a:cubicBezTo>
                  <a:cubicBezTo>
                    <a:pt x="68" y="317"/>
                    <a:pt x="70" y="286"/>
                    <a:pt x="80" y="258"/>
                  </a:cubicBezTo>
                  <a:cubicBezTo>
                    <a:pt x="84" y="247"/>
                    <a:pt x="89" y="236"/>
                    <a:pt x="94" y="226"/>
                  </a:cubicBezTo>
                  <a:cubicBezTo>
                    <a:pt x="103" y="207"/>
                    <a:pt x="111" y="189"/>
                    <a:pt x="122" y="172"/>
                  </a:cubicBezTo>
                  <a:cubicBezTo>
                    <a:pt x="136" y="151"/>
                    <a:pt x="155" y="133"/>
                    <a:pt x="167" y="111"/>
                  </a:cubicBezTo>
                  <a:cubicBezTo>
                    <a:pt x="177" y="92"/>
                    <a:pt x="180" y="71"/>
                    <a:pt x="184" y="50"/>
                  </a:cubicBezTo>
                  <a:cubicBezTo>
                    <a:pt x="187" y="33"/>
                    <a:pt x="190" y="17"/>
                    <a:pt x="193" y="0"/>
                  </a:cubicBezTo>
                  <a:close/>
                </a:path>
              </a:pathLst>
            </a:custGeom>
            <a:solidFill>
              <a:srgbClr val="0973D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83" name="Freeform 30"/>
            <p:cNvSpPr>
              <a:spLocks/>
            </p:cNvSpPr>
            <p:nvPr/>
          </p:nvSpPr>
          <p:spPr bwMode="auto">
            <a:xfrm>
              <a:off x="1817688" y="5054600"/>
              <a:ext cx="1111250" cy="1095375"/>
            </a:xfrm>
            <a:custGeom>
              <a:avLst/>
              <a:gdLst>
                <a:gd name="T0" fmla="*/ 162 w 384"/>
                <a:gd name="T1" fmla="*/ 4 h 379"/>
                <a:gd name="T2" fmla="*/ 183 w 384"/>
                <a:gd name="T3" fmla="*/ 2 h 379"/>
                <a:gd name="T4" fmla="*/ 202 w 384"/>
                <a:gd name="T5" fmla="*/ 10 h 379"/>
                <a:gd name="T6" fmla="*/ 230 w 384"/>
                <a:gd name="T7" fmla="*/ 40 h 379"/>
                <a:gd name="T8" fmla="*/ 283 w 384"/>
                <a:gd name="T9" fmla="*/ 119 h 379"/>
                <a:gd name="T10" fmla="*/ 323 w 384"/>
                <a:gd name="T11" fmla="*/ 185 h 379"/>
                <a:gd name="T12" fmla="*/ 355 w 384"/>
                <a:gd name="T13" fmla="*/ 225 h 379"/>
                <a:gd name="T14" fmla="*/ 378 w 384"/>
                <a:gd name="T15" fmla="*/ 269 h 379"/>
                <a:gd name="T16" fmla="*/ 372 w 384"/>
                <a:gd name="T17" fmla="*/ 333 h 379"/>
                <a:gd name="T18" fmla="*/ 340 w 384"/>
                <a:gd name="T19" fmla="*/ 367 h 379"/>
                <a:gd name="T20" fmla="*/ 296 w 384"/>
                <a:gd name="T21" fmla="*/ 378 h 379"/>
                <a:gd name="T22" fmla="*/ 227 w 384"/>
                <a:gd name="T23" fmla="*/ 356 h 379"/>
                <a:gd name="T24" fmla="*/ 82 w 384"/>
                <a:gd name="T25" fmla="*/ 317 h 379"/>
                <a:gd name="T26" fmla="*/ 39 w 384"/>
                <a:gd name="T27" fmla="*/ 304 h 379"/>
                <a:gd name="T28" fmla="*/ 19 w 384"/>
                <a:gd name="T29" fmla="*/ 297 h 379"/>
                <a:gd name="T30" fmla="*/ 4 w 384"/>
                <a:gd name="T31" fmla="*/ 285 h 379"/>
                <a:gd name="T32" fmla="*/ 0 w 384"/>
                <a:gd name="T33" fmla="*/ 269 h 379"/>
                <a:gd name="T34" fmla="*/ 3 w 384"/>
                <a:gd name="T35" fmla="*/ 254 h 379"/>
                <a:gd name="T36" fmla="*/ 16 w 384"/>
                <a:gd name="T37" fmla="*/ 225 h 379"/>
                <a:gd name="T38" fmla="*/ 23 w 384"/>
                <a:gd name="T39" fmla="*/ 175 h 379"/>
                <a:gd name="T40" fmla="*/ 18 w 384"/>
                <a:gd name="T41" fmla="*/ 123 h 379"/>
                <a:gd name="T42" fmla="*/ 19 w 384"/>
                <a:gd name="T43" fmla="*/ 100 h 379"/>
                <a:gd name="T44" fmla="*/ 29 w 384"/>
                <a:gd name="T45" fmla="*/ 80 h 379"/>
                <a:gd name="T46" fmla="*/ 48 w 384"/>
                <a:gd name="T47" fmla="*/ 71 h 379"/>
                <a:gd name="T48" fmla="*/ 69 w 384"/>
                <a:gd name="T49" fmla="*/ 70 h 379"/>
                <a:gd name="T50" fmla="*/ 90 w 384"/>
                <a:gd name="T51" fmla="*/ 69 h 379"/>
                <a:gd name="T52" fmla="*/ 111 w 384"/>
                <a:gd name="T53" fmla="*/ 64 h 379"/>
                <a:gd name="T54" fmla="*/ 125 w 384"/>
                <a:gd name="T55" fmla="*/ 50 h 379"/>
                <a:gd name="T56" fmla="*/ 136 w 384"/>
                <a:gd name="T57" fmla="*/ 33 h 379"/>
                <a:gd name="T58" fmla="*/ 147 w 384"/>
                <a:gd name="T59" fmla="*/ 16 h 379"/>
                <a:gd name="T60" fmla="*/ 162 w 384"/>
                <a:gd name="T61" fmla="*/ 4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84" h="379">
                  <a:moveTo>
                    <a:pt x="162" y="4"/>
                  </a:moveTo>
                  <a:cubicBezTo>
                    <a:pt x="169" y="1"/>
                    <a:pt x="176" y="0"/>
                    <a:pt x="183" y="2"/>
                  </a:cubicBezTo>
                  <a:cubicBezTo>
                    <a:pt x="190" y="3"/>
                    <a:pt x="196" y="6"/>
                    <a:pt x="202" y="10"/>
                  </a:cubicBezTo>
                  <a:cubicBezTo>
                    <a:pt x="213" y="18"/>
                    <a:pt x="222" y="29"/>
                    <a:pt x="230" y="40"/>
                  </a:cubicBezTo>
                  <a:cubicBezTo>
                    <a:pt x="248" y="66"/>
                    <a:pt x="266" y="92"/>
                    <a:pt x="283" y="119"/>
                  </a:cubicBezTo>
                  <a:cubicBezTo>
                    <a:pt x="296" y="142"/>
                    <a:pt x="308" y="165"/>
                    <a:pt x="323" y="185"/>
                  </a:cubicBezTo>
                  <a:cubicBezTo>
                    <a:pt x="333" y="199"/>
                    <a:pt x="345" y="211"/>
                    <a:pt x="355" y="225"/>
                  </a:cubicBezTo>
                  <a:cubicBezTo>
                    <a:pt x="365" y="239"/>
                    <a:pt x="374" y="253"/>
                    <a:pt x="378" y="269"/>
                  </a:cubicBezTo>
                  <a:cubicBezTo>
                    <a:pt x="384" y="291"/>
                    <a:pt x="382" y="314"/>
                    <a:pt x="372" y="333"/>
                  </a:cubicBezTo>
                  <a:cubicBezTo>
                    <a:pt x="364" y="347"/>
                    <a:pt x="354" y="359"/>
                    <a:pt x="340" y="367"/>
                  </a:cubicBezTo>
                  <a:cubicBezTo>
                    <a:pt x="327" y="375"/>
                    <a:pt x="312" y="379"/>
                    <a:pt x="296" y="378"/>
                  </a:cubicBezTo>
                  <a:cubicBezTo>
                    <a:pt x="272" y="377"/>
                    <a:pt x="250" y="365"/>
                    <a:pt x="227" y="356"/>
                  </a:cubicBezTo>
                  <a:cubicBezTo>
                    <a:pt x="180" y="337"/>
                    <a:pt x="130" y="332"/>
                    <a:pt x="82" y="317"/>
                  </a:cubicBezTo>
                  <a:cubicBezTo>
                    <a:pt x="68" y="313"/>
                    <a:pt x="53" y="308"/>
                    <a:pt x="39" y="304"/>
                  </a:cubicBezTo>
                  <a:cubicBezTo>
                    <a:pt x="32" y="302"/>
                    <a:pt x="25" y="300"/>
                    <a:pt x="19" y="297"/>
                  </a:cubicBezTo>
                  <a:cubicBezTo>
                    <a:pt x="13" y="295"/>
                    <a:pt x="7" y="290"/>
                    <a:pt x="4" y="285"/>
                  </a:cubicBezTo>
                  <a:cubicBezTo>
                    <a:pt x="1" y="280"/>
                    <a:pt x="0" y="275"/>
                    <a:pt x="0" y="269"/>
                  </a:cubicBezTo>
                  <a:cubicBezTo>
                    <a:pt x="0" y="264"/>
                    <a:pt x="1" y="259"/>
                    <a:pt x="3" y="254"/>
                  </a:cubicBezTo>
                  <a:cubicBezTo>
                    <a:pt x="7" y="244"/>
                    <a:pt x="12" y="235"/>
                    <a:pt x="16" y="225"/>
                  </a:cubicBezTo>
                  <a:cubicBezTo>
                    <a:pt x="23" y="209"/>
                    <a:pt x="24" y="192"/>
                    <a:pt x="23" y="175"/>
                  </a:cubicBezTo>
                  <a:cubicBezTo>
                    <a:pt x="22" y="157"/>
                    <a:pt x="19" y="140"/>
                    <a:pt x="18" y="123"/>
                  </a:cubicBezTo>
                  <a:cubicBezTo>
                    <a:pt x="18" y="116"/>
                    <a:pt x="17" y="108"/>
                    <a:pt x="19" y="100"/>
                  </a:cubicBezTo>
                  <a:cubicBezTo>
                    <a:pt x="20" y="93"/>
                    <a:pt x="24" y="85"/>
                    <a:pt x="29" y="80"/>
                  </a:cubicBezTo>
                  <a:cubicBezTo>
                    <a:pt x="34" y="75"/>
                    <a:pt x="41" y="72"/>
                    <a:pt x="48" y="71"/>
                  </a:cubicBezTo>
                  <a:cubicBezTo>
                    <a:pt x="55" y="69"/>
                    <a:pt x="62" y="69"/>
                    <a:pt x="69" y="70"/>
                  </a:cubicBezTo>
                  <a:cubicBezTo>
                    <a:pt x="76" y="70"/>
                    <a:pt x="83" y="70"/>
                    <a:pt x="90" y="69"/>
                  </a:cubicBezTo>
                  <a:cubicBezTo>
                    <a:pt x="97" y="69"/>
                    <a:pt x="104" y="67"/>
                    <a:pt x="111" y="64"/>
                  </a:cubicBezTo>
                  <a:cubicBezTo>
                    <a:pt x="116" y="60"/>
                    <a:pt x="121" y="55"/>
                    <a:pt x="125" y="50"/>
                  </a:cubicBezTo>
                  <a:cubicBezTo>
                    <a:pt x="129" y="45"/>
                    <a:pt x="132" y="39"/>
                    <a:pt x="136" y="33"/>
                  </a:cubicBezTo>
                  <a:cubicBezTo>
                    <a:pt x="139" y="27"/>
                    <a:pt x="142" y="21"/>
                    <a:pt x="147" y="16"/>
                  </a:cubicBezTo>
                  <a:cubicBezTo>
                    <a:pt x="151" y="11"/>
                    <a:pt x="156" y="6"/>
                    <a:pt x="162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973D1"/>
              </a:solidFill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84" name="Freeform 31"/>
            <p:cNvSpPr>
              <a:spLocks/>
            </p:cNvSpPr>
            <p:nvPr/>
          </p:nvSpPr>
          <p:spPr bwMode="auto">
            <a:xfrm>
              <a:off x="3298825" y="3324225"/>
              <a:ext cx="188913" cy="225425"/>
            </a:xfrm>
            <a:custGeom>
              <a:avLst/>
              <a:gdLst>
                <a:gd name="T0" fmla="*/ 29 w 65"/>
                <a:gd name="T1" fmla="*/ 1 h 78"/>
                <a:gd name="T2" fmla="*/ 17 w 65"/>
                <a:gd name="T3" fmla="*/ 5 h 78"/>
                <a:gd name="T4" fmla="*/ 8 w 65"/>
                <a:gd name="T5" fmla="*/ 13 h 78"/>
                <a:gd name="T6" fmla="*/ 1 w 65"/>
                <a:gd name="T7" fmla="*/ 37 h 78"/>
                <a:gd name="T8" fmla="*/ 3 w 65"/>
                <a:gd name="T9" fmla="*/ 56 h 78"/>
                <a:gd name="T10" fmla="*/ 14 w 65"/>
                <a:gd name="T11" fmla="*/ 71 h 78"/>
                <a:gd name="T12" fmla="*/ 31 w 65"/>
                <a:gd name="T13" fmla="*/ 78 h 78"/>
                <a:gd name="T14" fmla="*/ 50 w 65"/>
                <a:gd name="T15" fmla="*/ 73 h 78"/>
                <a:gd name="T16" fmla="*/ 60 w 65"/>
                <a:gd name="T17" fmla="*/ 61 h 78"/>
                <a:gd name="T18" fmla="*/ 64 w 65"/>
                <a:gd name="T19" fmla="*/ 47 h 78"/>
                <a:gd name="T20" fmla="*/ 60 w 65"/>
                <a:gd name="T21" fmla="*/ 20 h 78"/>
                <a:gd name="T22" fmla="*/ 40 w 65"/>
                <a:gd name="T23" fmla="*/ 2 h 78"/>
                <a:gd name="T24" fmla="*/ 29 w 65"/>
                <a:gd name="T25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8">
                  <a:moveTo>
                    <a:pt x="29" y="1"/>
                  </a:moveTo>
                  <a:cubicBezTo>
                    <a:pt x="24" y="1"/>
                    <a:pt x="20" y="2"/>
                    <a:pt x="17" y="5"/>
                  </a:cubicBezTo>
                  <a:cubicBezTo>
                    <a:pt x="13" y="7"/>
                    <a:pt x="10" y="10"/>
                    <a:pt x="8" y="13"/>
                  </a:cubicBezTo>
                  <a:cubicBezTo>
                    <a:pt x="3" y="20"/>
                    <a:pt x="1" y="29"/>
                    <a:pt x="1" y="37"/>
                  </a:cubicBezTo>
                  <a:cubicBezTo>
                    <a:pt x="0" y="43"/>
                    <a:pt x="1" y="50"/>
                    <a:pt x="3" y="56"/>
                  </a:cubicBezTo>
                  <a:cubicBezTo>
                    <a:pt x="5" y="62"/>
                    <a:pt x="9" y="67"/>
                    <a:pt x="14" y="71"/>
                  </a:cubicBezTo>
                  <a:cubicBezTo>
                    <a:pt x="19" y="75"/>
                    <a:pt x="25" y="78"/>
                    <a:pt x="31" y="78"/>
                  </a:cubicBezTo>
                  <a:cubicBezTo>
                    <a:pt x="38" y="78"/>
                    <a:pt x="44" y="76"/>
                    <a:pt x="50" y="73"/>
                  </a:cubicBezTo>
                  <a:cubicBezTo>
                    <a:pt x="54" y="70"/>
                    <a:pt x="57" y="66"/>
                    <a:pt x="60" y="61"/>
                  </a:cubicBezTo>
                  <a:cubicBezTo>
                    <a:pt x="62" y="57"/>
                    <a:pt x="64" y="52"/>
                    <a:pt x="64" y="47"/>
                  </a:cubicBezTo>
                  <a:cubicBezTo>
                    <a:pt x="65" y="38"/>
                    <a:pt x="64" y="28"/>
                    <a:pt x="60" y="20"/>
                  </a:cubicBezTo>
                  <a:cubicBezTo>
                    <a:pt x="56" y="12"/>
                    <a:pt x="49" y="5"/>
                    <a:pt x="40" y="2"/>
                  </a:cubicBezTo>
                  <a:cubicBezTo>
                    <a:pt x="37" y="1"/>
                    <a:pt x="33" y="0"/>
                    <a:pt x="29" y="1"/>
                  </a:cubicBezTo>
                  <a:close/>
                </a:path>
              </a:pathLst>
            </a:custGeom>
            <a:solidFill>
              <a:srgbClr val="0973D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85" name="Freeform 32"/>
            <p:cNvSpPr>
              <a:spLocks/>
            </p:cNvSpPr>
            <p:nvPr/>
          </p:nvSpPr>
          <p:spPr bwMode="auto">
            <a:xfrm>
              <a:off x="3386138" y="3354388"/>
              <a:ext cx="77788" cy="82550"/>
            </a:xfrm>
            <a:custGeom>
              <a:avLst/>
              <a:gdLst>
                <a:gd name="T0" fmla="*/ 2 w 27"/>
                <a:gd name="T1" fmla="*/ 8 h 29"/>
                <a:gd name="T2" fmla="*/ 9 w 27"/>
                <a:gd name="T3" fmla="*/ 11 h 29"/>
                <a:gd name="T4" fmla="*/ 14 w 27"/>
                <a:gd name="T5" fmla="*/ 15 h 29"/>
                <a:gd name="T6" fmla="*/ 20 w 27"/>
                <a:gd name="T7" fmla="*/ 28 h 29"/>
                <a:gd name="T8" fmla="*/ 24 w 27"/>
                <a:gd name="T9" fmla="*/ 27 h 29"/>
                <a:gd name="T10" fmla="*/ 20 w 27"/>
                <a:gd name="T11" fmla="*/ 9 h 29"/>
                <a:gd name="T12" fmla="*/ 8 w 27"/>
                <a:gd name="T13" fmla="*/ 1 h 29"/>
                <a:gd name="T14" fmla="*/ 1 w 27"/>
                <a:gd name="T15" fmla="*/ 3 h 29"/>
                <a:gd name="T16" fmla="*/ 2 w 27"/>
                <a:gd name="T17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9">
                  <a:moveTo>
                    <a:pt x="2" y="8"/>
                  </a:moveTo>
                  <a:cubicBezTo>
                    <a:pt x="4" y="10"/>
                    <a:pt x="7" y="9"/>
                    <a:pt x="9" y="11"/>
                  </a:cubicBezTo>
                  <a:cubicBezTo>
                    <a:pt x="11" y="12"/>
                    <a:pt x="13" y="13"/>
                    <a:pt x="14" y="15"/>
                  </a:cubicBezTo>
                  <a:cubicBezTo>
                    <a:pt x="17" y="19"/>
                    <a:pt x="16" y="26"/>
                    <a:pt x="20" y="28"/>
                  </a:cubicBezTo>
                  <a:cubicBezTo>
                    <a:pt x="22" y="29"/>
                    <a:pt x="24" y="28"/>
                    <a:pt x="24" y="27"/>
                  </a:cubicBezTo>
                  <a:cubicBezTo>
                    <a:pt x="27" y="21"/>
                    <a:pt x="23" y="14"/>
                    <a:pt x="20" y="9"/>
                  </a:cubicBezTo>
                  <a:cubicBezTo>
                    <a:pt x="17" y="5"/>
                    <a:pt x="12" y="1"/>
                    <a:pt x="8" y="1"/>
                  </a:cubicBezTo>
                  <a:cubicBezTo>
                    <a:pt x="5" y="0"/>
                    <a:pt x="2" y="1"/>
                    <a:pt x="1" y="3"/>
                  </a:cubicBezTo>
                  <a:cubicBezTo>
                    <a:pt x="0" y="4"/>
                    <a:pt x="1" y="6"/>
                    <a:pt x="2" y="8"/>
                  </a:cubicBezTo>
                  <a:close/>
                </a:path>
              </a:pathLst>
            </a:custGeom>
            <a:solidFill>
              <a:srgbClr val="FEFEFC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86" name="Freeform 33"/>
            <p:cNvSpPr>
              <a:spLocks/>
            </p:cNvSpPr>
            <p:nvPr/>
          </p:nvSpPr>
          <p:spPr bwMode="auto">
            <a:xfrm>
              <a:off x="2887663" y="3336925"/>
              <a:ext cx="146050" cy="212725"/>
            </a:xfrm>
            <a:custGeom>
              <a:avLst/>
              <a:gdLst>
                <a:gd name="T0" fmla="*/ 2 w 50"/>
                <a:gd name="T1" fmla="*/ 22 h 74"/>
                <a:gd name="T2" fmla="*/ 3 w 50"/>
                <a:gd name="T3" fmla="*/ 49 h 74"/>
                <a:gd name="T4" fmla="*/ 13 w 50"/>
                <a:gd name="T5" fmla="*/ 64 h 74"/>
                <a:gd name="T6" fmla="*/ 22 w 50"/>
                <a:gd name="T7" fmla="*/ 71 h 74"/>
                <a:gd name="T8" fmla="*/ 34 w 50"/>
                <a:gd name="T9" fmla="*/ 73 h 74"/>
                <a:gd name="T10" fmla="*/ 42 w 50"/>
                <a:gd name="T11" fmla="*/ 67 h 74"/>
                <a:gd name="T12" fmla="*/ 47 w 50"/>
                <a:gd name="T13" fmla="*/ 57 h 74"/>
                <a:gd name="T14" fmla="*/ 47 w 50"/>
                <a:gd name="T15" fmla="*/ 25 h 74"/>
                <a:gd name="T16" fmla="*/ 35 w 50"/>
                <a:gd name="T17" fmla="*/ 6 h 74"/>
                <a:gd name="T18" fmla="*/ 25 w 50"/>
                <a:gd name="T19" fmla="*/ 1 h 74"/>
                <a:gd name="T20" fmla="*/ 14 w 50"/>
                <a:gd name="T21" fmla="*/ 2 h 74"/>
                <a:gd name="T22" fmla="*/ 5 w 50"/>
                <a:gd name="T23" fmla="*/ 10 h 74"/>
                <a:gd name="T24" fmla="*/ 2 w 50"/>
                <a:gd name="T25" fmla="*/ 2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4">
                  <a:moveTo>
                    <a:pt x="2" y="22"/>
                  </a:moveTo>
                  <a:cubicBezTo>
                    <a:pt x="0" y="31"/>
                    <a:pt x="0" y="40"/>
                    <a:pt x="3" y="49"/>
                  </a:cubicBezTo>
                  <a:cubicBezTo>
                    <a:pt x="5" y="55"/>
                    <a:pt x="9" y="60"/>
                    <a:pt x="13" y="64"/>
                  </a:cubicBezTo>
                  <a:cubicBezTo>
                    <a:pt x="15" y="67"/>
                    <a:pt x="19" y="70"/>
                    <a:pt x="22" y="71"/>
                  </a:cubicBezTo>
                  <a:cubicBezTo>
                    <a:pt x="26" y="73"/>
                    <a:pt x="30" y="74"/>
                    <a:pt x="34" y="73"/>
                  </a:cubicBezTo>
                  <a:cubicBezTo>
                    <a:pt x="37" y="72"/>
                    <a:pt x="40" y="70"/>
                    <a:pt x="42" y="67"/>
                  </a:cubicBezTo>
                  <a:cubicBezTo>
                    <a:pt x="45" y="64"/>
                    <a:pt x="46" y="61"/>
                    <a:pt x="47" y="57"/>
                  </a:cubicBezTo>
                  <a:cubicBezTo>
                    <a:pt x="50" y="47"/>
                    <a:pt x="50" y="36"/>
                    <a:pt x="47" y="25"/>
                  </a:cubicBezTo>
                  <a:cubicBezTo>
                    <a:pt x="44" y="18"/>
                    <a:pt x="41" y="11"/>
                    <a:pt x="35" y="6"/>
                  </a:cubicBezTo>
                  <a:cubicBezTo>
                    <a:pt x="32" y="3"/>
                    <a:pt x="28" y="1"/>
                    <a:pt x="25" y="1"/>
                  </a:cubicBezTo>
                  <a:cubicBezTo>
                    <a:pt x="21" y="0"/>
                    <a:pt x="17" y="0"/>
                    <a:pt x="14" y="2"/>
                  </a:cubicBezTo>
                  <a:cubicBezTo>
                    <a:pt x="10" y="3"/>
                    <a:pt x="7" y="6"/>
                    <a:pt x="5" y="10"/>
                  </a:cubicBezTo>
                  <a:cubicBezTo>
                    <a:pt x="3" y="14"/>
                    <a:pt x="2" y="18"/>
                    <a:pt x="2" y="22"/>
                  </a:cubicBezTo>
                  <a:close/>
                </a:path>
              </a:pathLst>
            </a:custGeom>
            <a:solidFill>
              <a:srgbClr val="0973D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87" name="Freeform 34"/>
            <p:cNvSpPr>
              <a:spLocks/>
            </p:cNvSpPr>
            <p:nvPr/>
          </p:nvSpPr>
          <p:spPr bwMode="auto">
            <a:xfrm>
              <a:off x="2957513" y="3362325"/>
              <a:ext cx="52388" cy="84138"/>
            </a:xfrm>
            <a:custGeom>
              <a:avLst/>
              <a:gdLst>
                <a:gd name="T0" fmla="*/ 1 w 18"/>
                <a:gd name="T1" fmla="*/ 5 h 29"/>
                <a:gd name="T2" fmla="*/ 6 w 18"/>
                <a:gd name="T3" fmla="*/ 10 h 29"/>
                <a:gd name="T4" fmla="*/ 9 w 18"/>
                <a:gd name="T5" fmla="*/ 15 h 29"/>
                <a:gd name="T6" fmla="*/ 11 w 18"/>
                <a:gd name="T7" fmla="*/ 28 h 29"/>
                <a:gd name="T8" fmla="*/ 15 w 18"/>
                <a:gd name="T9" fmla="*/ 28 h 29"/>
                <a:gd name="T10" fmla="*/ 16 w 18"/>
                <a:gd name="T11" fmla="*/ 12 h 29"/>
                <a:gd name="T12" fmla="*/ 8 w 18"/>
                <a:gd name="T13" fmla="*/ 2 h 29"/>
                <a:gd name="T14" fmla="*/ 1 w 18"/>
                <a:gd name="T15" fmla="*/ 1 h 29"/>
                <a:gd name="T16" fmla="*/ 1 w 18"/>
                <a:gd name="T17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29">
                  <a:moveTo>
                    <a:pt x="1" y="5"/>
                  </a:moveTo>
                  <a:cubicBezTo>
                    <a:pt x="2" y="8"/>
                    <a:pt x="4" y="8"/>
                    <a:pt x="6" y="10"/>
                  </a:cubicBezTo>
                  <a:cubicBezTo>
                    <a:pt x="7" y="12"/>
                    <a:pt x="9" y="13"/>
                    <a:pt x="9" y="15"/>
                  </a:cubicBezTo>
                  <a:cubicBezTo>
                    <a:pt x="11" y="19"/>
                    <a:pt x="8" y="25"/>
                    <a:pt x="11" y="28"/>
                  </a:cubicBezTo>
                  <a:cubicBezTo>
                    <a:pt x="12" y="29"/>
                    <a:pt x="14" y="29"/>
                    <a:pt x="15" y="28"/>
                  </a:cubicBezTo>
                  <a:cubicBezTo>
                    <a:pt x="18" y="24"/>
                    <a:pt x="18" y="17"/>
                    <a:pt x="16" y="12"/>
                  </a:cubicBezTo>
                  <a:cubicBezTo>
                    <a:pt x="15" y="8"/>
                    <a:pt x="12" y="4"/>
                    <a:pt x="8" y="2"/>
                  </a:cubicBezTo>
                  <a:cubicBezTo>
                    <a:pt x="6" y="1"/>
                    <a:pt x="3" y="0"/>
                    <a:pt x="1" y="1"/>
                  </a:cubicBezTo>
                  <a:cubicBezTo>
                    <a:pt x="0" y="2"/>
                    <a:pt x="1" y="4"/>
                    <a:pt x="1" y="5"/>
                  </a:cubicBezTo>
                  <a:close/>
                </a:path>
              </a:pathLst>
            </a:custGeom>
            <a:solidFill>
              <a:srgbClr val="FEFEFC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88" name="Freeform 35"/>
            <p:cNvSpPr>
              <a:spLocks/>
            </p:cNvSpPr>
            <p:nvPr/>
          </p:nvSpPr>
          <p:spPr bwMode="auto">
            <a:xfrm>
              <a:off x="3411538" y="3128963"/>
              <a:ext cx="142875" cy="127000"/>
            </a:xfrm>
            <a:custGeom>
              <a:avLst/>
              <a:gdLst>
                <a:gd name="T0" fmla="*/ 6 w 49"/>
                <a:gd name="T1" fmla="*/ 0 h 44"/>
                <a:gd name="T2" fmla="*/ 0 w 49"/>
                <a:gd name="T3" fmla="*/ 3 h 44"/>
                <a:gd name="T4" fmla="*/ 20 w 49"/>
                <a:gd name="T5" fmla="*/ 11 h 44"/>
                <a:gd name="T6" fmla="*/ 48 w 49"/>
                <a:gd name="T7" fmla="*/ 44 h 44"/>
                <a:gd name="T8" fmla="*/ 47 w 49"/>
                <a:gd name="T9" fmla="*/ 34 h 44"/>
                <a:gd name="T10" fmla="*/ 23 w 49"/>
                <a:gd name="T11" fmla="*/ 4 h 44"/>
                <a:gd name="T12" fmla="*/ 6 w 49"/>
                <a:gd name="T1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44">
                  <a:moveTo>
                    <a:pt x="6" y="0"/>
                  </a:moveTo>
                  <a:cubicBezTo>
                    <a:pt x="4" y="0"/>
                    <a:pt x="1" y="0"/>
                    <a:pt x="0" y="3"/>
                  </a:cubicBezTo>
                  <a:cubicBezTo>
                    <a:pt x="7" y="4"/>
                    <a:pt x="14" y="7"/>
                    <a:pt x="20" y="11"/>
                  </a:cubicBezTo>
                  <a:cubicBezTo>
                    <a:pt x="32" y="19"/>
                    <a:pt x="41" y="31"/>
                    <a:pt x="48" y="44"/>
                  </a:cubicBezTo>
                  <a:cubicBezTo>
                    <a:pt x="49" y="42"/>
                    <a:pt x="48" y="37"/>
                    <a:pt x="47" y="34"/>
                  </a:cubicBezTo>
                  <a:cubicBezTo>
                    <a:pt x="42" y="22"/>
                    <a:pt x="36" y="13"/>
                    <a:pt x="23" y="4"/>
                  </a:cubicBezTo>
                  <a:cubicBezTo>
                    <a:pt x="17" y="0"/>
                    <a:pt x="12" y="0"/>
                    <a:pt x="6" y="0"/>
                  </a:cubicBezTo>
                  <a:close/>
                </a:path>
              </a:pathLst>
            </a:custGeom>
            <a:solidFill>
              <a:srgbClr val="FDFDFB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89" name="Freeform 36"/>
            <p:cNvSpPr>
              <a:spLocks/>
            </p:cNvSpPr>
            <p:nvPr/>
          </p:nvSpPr>
          <p:spPr bwMode="auto">
            <a:xfrm>
              <a:off x="2940050" y="3154363"/>
              <a:ext cx="133350" cy="106363"/>
            </a:xfrm>
            <a:custGeom>
              <a:avLst/>
              <a:gdLst>
                <a:gd name="T0" fmla="*/ 3 w 46"/>
                <a:gd name="T1" fmla="*/ 1 h 37"/>
                <a:gd name="T2" fmla="*/ 1 w 46"/>
                <a:gd name="T3" fmla="*/ 1 h 37"/>
                <a:gd name="T4" fmla="*/ 0 w 46"/>
                <a:gd name="T5" fmla="*/ 1 h 37"/>
                <a:gd name="T6" fmla="*/ 12 w 46"/>
                <a:gd name="T7" fmla="*/ 4 h 37"/>
                <a:gd name="T8" fmla="*/ 27 w 46"/>
                <a:gd name="T9" fmla="*/ 13 h 37"/>
                <a:gd name="T10" fmla="*/ 46 w 46"/>
                <a:gd name="T11" fmla="*/ 37 h 37"/>
                <a:gd name="T12" fmla="*/ 39 w 46"/>
                <a:gd name="T13" fmla="*/ 18 h 37"/>
                <a:gd name="T14" fmla="*/ 34 w 46"/>
                <a:gd name="T15" fmla="*/ 13 h 37"/>
                <a:gd name="T16" fmla="*/ 18 w 46"/>
                <a:gd name="T17" fmla="*/ 4 h 37"/>
                <a:gd name="T18" fmla="*/ 3 w 46"/>
                <a:gd name="T19" fmla="*/ 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37">
                  <a:moveTo>
                    <a:pt x="3" y="1"/>
                  </a:moveTo>
                  <a:cubicBezTo>
                    <a:pt x="3" y="0"/>
                    <a:pt x="2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4" y="1"/>
                    <a:pt x="8" y="2"/>
                    <a:pt x="12" y="4"/>
                  </a:cubicBezTo>
                  <a:cubicBezTo>
                    <a:pt x="18" y="6"/>
                    <a:pt x="23" y="9"/>
                    <a:pt x="27" y="13"/>
                  </a:cubicBezTo>
                  <a:cubicBezTo>
                    <a:pt x="36" y="20"/>
                    <a:pt x="42" y="28"/>
                    <a:pt x="46" y="37"/>
                  </a:cubicBezTo>
                  <a:cubicBezTo>
                    <a:pt x="45" y="30"/>
                    <a:pt x="43" y="24"/>
                    <a:pt x="39" y="18"/>
                  </a:cubicBezTo>
                  <a:cubicBezTo>
                    <a:pt x="38" y="16"/>
                    <a:pt x="36" y="15"/>
                    <a:pt x="34" y="13"/>
                  </a:cubicBezTo>
                  <a:cubicBezTo>
                    <a:pt x="29" y="10"/>
                    <a:pt x="24" y="6"/>
                    <a:pt x="18" y="4"/>
                  </a:cubicBezTo>
                  <a:cubicBezTo>
                    <a:pt x="14" y="2"/>
                    <a:pt x="9" y="1"/>
                    <a:pt x="3" y="1"/>
                  </a:cubicBezTo>
                  <a:close/>
                </a:path>
              </a:pathLst>
            </a:custGeom>
            <a:solidFill>
              <a:srgbClr val="FDFDFB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90" name="Freeform 37"/>
            <p:cNvSpPr>
              <a:spLocks/>
            </p:cNvSpPr>
            <p:nvPr/>
          </p:nvSpPr>
          <p:spPr bwMode="auto">
            <a:xfrm>
              <a:off x="2836863" y="3443288"/>
              <a:ext cx="701675" cy="361950"/>
            </a:xfrm>
            <a:custGeom>
              <a:avLst/>
              <a:gdLst>
                <a:gd name="T0" fmla="*/ 32 w 243"/>
                <a:gd name="T1" fmla="*/ 41 h 125"/>
                <a:gd name="T2" fmla="*/ 12 w 243"/>
                <a:gd name="T3" fmla="*/ 60 h 125"/>
                <a:gd name="T4" fmla="*/ 3 w 243"/>
                <a:gd name="T5" fmla="*/ 72 h 125"/>
                <a:gd name="T6" fmla="*/ 1 w 243"/>
                <a:gd name="T7" fmla="*/ 86 h 125"/>
                <a:gd name="T8" fmla="*/ 0 w 243"/>
                <a:gd name="T9" fmla="*/ 91 h 125"/>
                <a:gd name="T10" fmla="*/ 1 w 243"/>
                <a:gd name="T11" fmla="*/ 93 h 125"/>
                <a:gd name="T12" fmla="*/ 2 w 243"/>
                <a:gd name="T13" fmla="*/ 95 h 125"/>
                <a:gd name="T14" fmla="*/ 5 w 243"/>
                <a:gd name="T15" fmla="*/ 97 h 125"/>
                <a:gd name="T16" fmla="*/ 9 w 243"/>
                <a:gd name="T17" fmla="*/ 97 h 125"/>
                <a:gd name="T18" fmla="*/ 25 w 243"/>
                <a:gd name="T19" fmla="*/ 104 h 125"/>
                <a:gd name="T20" fmla="*/ 40 w 243"/>
                <a:gd name="T21" fmla="*/ 114 h 125"/>
                <a:gd name="T22" fmla="*/ 77 w 243"/>
                <a:gd name="T23" fmla="*/ 125 h 125"/>
                <a:gd name="T24" fmla="*/ 115 w 243"/>
                <a:gd name="T25" fmla="*/ 121 h 125"/>
                <a:gd name="T26" fmla="*/ 145 w 243"/>
                <a:gd name="T27" fmla="*/ 113 h 125"/>
                <a:gd name="T28" fmla="*/ 186 w 243"/>
                <a:gd name="T29" fmla="*/ 88 h 125"/>
                <a:gd name="T30" fmla="*/ 203 w 243"/>
                <a:gd name="T31" fmla="*/ 75 h 125"/>
                <a:gd name="T32" fmla="*/ 208 w 243"/>
                <a:gd name="T33" fmla="*/ 70 h 125"/>
                <a:gd name="T34" fmla="*/ 214 w 243"/>
                <a:gd name="T35" fmla="*/ 66 h 125"/>
                <a:gd name="T36" fmla="*/ 225 w 243"/>
                <a:gd name="T37" fmla="*/ 66 h 125"/>
                <a:gd name="T38" fmla="*/ 234 w 243"/>
                <a:gd name="T39" fmla="*/ 67 h 125"/>
                <a:gd name="T40" fmla="*/ 238 w 243"/>
                <a:gd name="T41" fmla="*/ 66 h 125"/>
                <a:gd name="T42" fmla="*/ 241 w 243"/>
                <a:gd name="T43" fmla="*/ 64 h 125"/>
                <a:gd name="T44" fmla="*/ 243 w 243"/>
                <a:gd name="T45" fmla="*/ 58 h 125"/>
                <a:gd name="T46" fmla="*/ 242 w 243"/>
                <a:gd name="T47" fmla="*/ 53 h 125"/>
                <a:gd name="T48" fmla="*/ 233 w 243"/>
                <a:gd name="T49" fmla="*/ 46 h 125"/>
                <a:gd name="T50" fmla="*/ 219 w 243"/>
                <a:gd name="T51" fmla="*/ 42 h 125"/>
                <a:gd name="T52" fmla="*/ 175 w 243"/>
                <a:gd name="T53" fmla="*/ 26 h 125"/>
                <a:gd name="T54" fmla="*/ 155 w 243"/>
                <a:gd name="T55" fmla="*/ 15 h 125"/>
                <a:gd name="T56" fmla="*/ 133 w 243"/>
                <a:gd name="T57" fmla="*/ 6 h 125"/>
                <a:gd name="T58" fmla="*/ 81 w 243"/>
                <a:gd name="T59" fmla="*/ 8 h 125"/>
                <a:gd name="T60" fmla="*/ 32 w 243"/>
                <a:gd name="T61" fmla="*/ 41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43" h="125">
                  <a:moveTo>
                    <a:pt x="32" y="41"/>
                  </a:moveTo>
                  <a:cubicBezTo>
                    <a:pt x="25" y="47"/>
                    <a:pt x="18" y="53"/>
                    <a:pt x="12" y="60"/>
                  </a:cubicBezTo>
                  <a:cubicBezTo>
                    <a:pt x="8" y="63"/>
                    <a:pt x="4" y="67"/>
                    <a:pt x="3" y="72"/>
                  </a:cubicBezTo>
                  <a:cubicBezTo>
                    <a:pt x="1" y="77"/>
                    <a:pt x="2" y="81"/>
                    <a:pt x="1" y="86"/>
                  </a:cubicBezTo>
                  <a:cubicBezTo>
                    <a:pt x="1" y="87"/>
                    <a:pt x="0" y="89"/>
                    <a:pt x="0" y="91"/>
                  </a:cubicBezTo>
                  <a:cubicBezTo>
                    <a:pt x="0" y="91"/>
                    <a:pt x="0" y="92"/>
                    <a:pt x="1" y="93"/>
                  </a:cubicBezTo>
                  <a:cubicBezTo>
                    <a:pt x="1" y="94"/>
                    <a:pt x="1" y="94"/>
                    <a:pt x="2" y="95"/>
                  </a:cubicBezTo>
                  <a:cubicBezTo>
                    <a:pt x="3" y="96"/>
                    <a:pt x="4" y="96"/>
                    <a:pt x="5" y="97"/>
                  </a:cubicBezTo>
                  <a:cubicBezTo>
                    <a:pt x="7" y="97"/>
                    <a:pt x="8" y="97"/>
                    <a:pt x="9" y="97"/>
                  </a:cubicBezTo>
                  <a:cubicBezTo>
                    <a:pt x="15" y="98"/>
                    <a:pt x="20" y="101"/>
                    <a:pt x="25" y="104"/>
                  </a:cubicBezTo>
                  <a:cubicBezTo>
                    <a:pt x="30" y="107"/>
                    <a:pt x="35" y="111"/>
                    <a:pt x="40" y="114"/>
                  </a:cubicBezTo>
                  <a:cubicBezTo>
                    <a:pt x="51" y="121"/>
                    <a:pt x="64" y="124"/>
                    <a:pt x="77" y="125"/>
                  </a:cubicBezTo>
                  <a:cubicBezTo>
                    <a:pt x="90" y="125"/>
                    <a:pt x="103" y="123"/>
                    <a:pt x="115" y="121"/>
                  </a:cubicBezTo>
                  <a:cubicBezTo>
                    <a:pt x="126" y="119"/>
                    <a:pt x="136" y="116"/>
                    <a:pt x="145" y="113"/>
                  </a:cubicBezTo>
                  <a:cubicBezTo>
                    <a:pt x="160" y="107"/>
                    <a:pt x="173" y="98"/>
                    <a:pt x="186" y="88"/>
                  </a:cubicBezTo>
                  <a:cubicBezTo>
                    <a:pt x="192" y="84"/>
                    <a:pt x="198" y="80"/>
                    <a:pt x="203" y="75"/>
                  </a:cubicBezTo>
                  <a:cubicBezTo>
                    <a:pt x="204" y="73"/>
                    <a:pt x="206" y="71"/>
                    <a:pt x="208" y="70"/>
                  </a:cubicBezTo>
                  <a:cubicBezTo>
                    <a:pt x="210" y="68"/>
                    <a:pt x="212" y="67"/>
                    <a:pt x="214" y="66"/>
                  </a:cubicBezTo>
                  <a:cubicBezTo>
                    <a:pt x="218" y="65"/>
                    <a:pt x="222" y="65"/>
                    <a:pt x="225" y="66"/>
                  </a:cubicBezTo>
                  <a:cubicBezTo>
                    <a:pt x="228" y="66"/>
                    <a:pt x="231" y="67"/>
                    <a:pt x="234" y="67"/>
                  </a:cubicBezTo>
                  <a:cubicBezTo>
                    <a:pt x="235" y="67"/>
                    <a:pt x="237" y="66"/>
                    <a:pt x="238" y="66"/>
                  </a:cubicBezTo>
                  <a:cubicBezTo>
                    <a:pt x="239" y="65"/>
                    <a:pt x="240" y="65"/>
                    <a:pt x="241" y="64"/>
                  </a:cubicBezTo>
                  <a:cubicBezTo>
                    <a:pt x="242" y="62"/>
                    <a:pt x="243" y="60"/>
                    <a:pt x="243" y="58"/>
                  </a:cubicBezTo>
                  <a:cubicBezTo>
                    <a:pt x="243" y="57"/>
                    <a:pt x="242" y="55"/>
                    <a:pt x="242" y="53"/>
                  </a:cubicBezTo>
                  <a:cubicBezTo>
                    <a:pt x="240" y="50"/>
                    <a:pt x="236" y="48"/>
                    <a:pt x="233" y="46"/>
                  </a:cubicBezTo>
                  <a:cubicBezTo>
                    <a:pt x="228" y="44"/>
                    <a:pt x="223" y="43"/>
                    <a:pt x="219" y="42"/>
                  </a:cubicBezTo>
                  <a:cubicBezTo>
                    <a:pt x="203" y="38"/>
                    <a:pt x="189" y="33"/>
                    <a:pt x="175" y="26"/>
                  </a:cubicBezTo>
                  <a:cubicBezTo>
                    <a:pt x="168" y="23"/>
                    <a:pt x="161" y="19"/>
                    <a:pt x="155" y="15"/>
                  </a:cubicBezTo>
                  <a:cubicBezTo>
                    <a:pt x="148" y="12"/>
                    <a:pt x="140" y="8"/>
                    <a:pt x="133" y="6"/>
                  </a:cubicBezTo>
                  <a:cubicBezTo>
                    <a:pt x="116" y="0"/>
                    <a:pt x="97" y="2"/>
                    <a:pt x="81" y="8"/>
                  </a:cubicBezTo>
                  <a:cubicBezTo>
                    <a:pt x="62" y="14"/>
                    <a:pt x="45" y="26"/>
                    <a:pt x="32" y="41"/>
                  </a:cubicBezTo>
                  <a:close/>
                </a:path>
              </a:pathLst>
            </a:custGeom>
            <a:solidFill>
              <a:srgbClr val="0973D1"/>
            </a:solidFill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91" name="Freeform 38"/>
            <p:cNvSpPr>
              <a:spLocks/>
            </p:cNvSpPr>
            <p:nvPr/>
          </p:nvSpPr>
          <p:spPr bwMode="auto">
            <a:xfrm>
              <a:off x="2836863" y="3630613"/>
              <a:ext cx="714375" cy="327025"/>
            </a:xfrm>
            <a:custGeom>
              <a:avLst/>
              <a:gdLst>
                <a:gd name="T0" fmla="*/ 0 w 247"/>
                <a:gd name="T1" fmla="*/ 42 h 113"/>
                <a:gd name="T2" fmla="*/ 35 w 247"/>
                <a:gd name="T3" fmla="*/ 72 h 113"/>
                <a:gd name="T4" fmla="*/ 65 w 247"/>
                <a:gd name="T5" fmla="*/ 102 h 113"/>
                <a:gd name="T6" fmla="*/ 94 w 247"/>
                <a:gd name="T7" fmla="*/ 112 h 113"/>
                <a:gd name="T8" fmla="*/ 131 w 247"/>
                <a:gd name="T9" fmla="*/ 108 h 113"/>
                <a:gd name="T10" fmla="*/ 162 w 247"/>
                <a:gd name="T11" fmla="*/ 96 h 113"/>
                <a:gd name="T12" fmla="*/ 216 w 247"/>
                <a:gd name="T13" fmla="*/ 63 h 113"/>
                <a:gd name="T14" fmla="*/ 230 w 247"/>
                <a:gd name="T15" fmla="*/ 59 h 113"/>
                <a:gd name="T16" fmla="*/ 236 w 247"/>
                <a:gd name="T17" fmla="*/ 55 h 113"/>
                <a:gd name="T18" fmla="*/ 240 w 247"/>
                <a:gd name="T19" fmla="*/ 50 h 113"/>
                <a:gd name="T20" fmla="*/ 243 w 247"/>
                <a:gd name="T21" fmla="*/ 37 h 113"/>
                <a:gd name="T22" fmla="*/ 246 w 247"/>
                <a:gd name="T23" fmla="*/ 24 h 113"/>
                <a:gd name="T24" fmla="*/ 245 w 247"/>
                <a:gd name="T25" fmla="*/ 11 h 113"/>
                <a:gd name="T26" fmla="*/ 236 w 247"/>
                <a:gd name="T27" fmla="*/ 2 h 113"/>
                <a:gd name="T28" fmla="*/ 225 w 247"/>
                <a:gd name="T29" fmla="*/ 0 h 113"/>
                <a:gd name="T30" fmla="*/ 200 w 247"/>
                <a:gd name="T31" fmla="*/ 3 h 113"/>
                <a:gd name="T32" fmla="*/ 168 w 247"/>
                <a:gd name="T33" fmla="*/ 3 h 113"/>
                <a:gd name="T34" fmla="*/ 129 w 247"/>
                <a:gd name="T35" fmla="*/ 6 h 113"/>
                <a:gd name="T36" fmla="*/ 83 w 247"/>
                <a:gd name="T37" fmla="*/ 4 h 113"/>
                <a:gd name="T38" fmla="*/ 45 w 247"/>
                <a:gd name="T39" fmla="*/ 12 h 113"/>
                <a:gd name="T40" fmla="*/ 30 w 247"/>
                <a:gd name="T41" fmla="*/ 23 h 113"/>
                <a:gd name="T42" fmla="*/ 14 w 247"/>
                <a:gd name="T43" fmla="*/ 31 h 113"/>
                <a:gd name="T44" fmla="*/ 9 w 247"/>
                <a:gd name="T45" fmla="*/ 31 h 113"/>
                <a:gd name="T46" fmla="*/ 2 w 247"/>
                <a:gd name="T47" fmla="*/ 35 h 113"/>
                <a:gd name="T48" fmla="*/ 0 w 247"/>
                <a:gd name="T49" fmla="*/ 4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7" h="113">
                  <a:moveTo>
                    <a:pt x="0" y="42"/>
                  </a:moveTo>
                  <a:cubicBezTo>
                    <a:pt x="13" y="50"/>
                    <a:pt x="25" y="60"/>
                    <a:pt x="35" y="72"/>
                  </a:cubicBezTo>
                  <a:cubicBezTo>
                    <a:pt x="45" y="82"/>
                    <a:pt x="53" y="95"/>
                    <a:pt x="65" y="102"/>
                  </a:cubicBezTo>
                  <a:cubicBezTo>
                    <a:pt x="74" y="108"/>
                    <a:pt x="84" y="111"/>
                    <a:pt x="94" y="112"/>
                  </a:cubicBezTo>
                  <a:cubicBezTo>
                    <a:pt x="106" y="113"/>
                    <a:pt x="119" y="111"/>
                    <a:pt x="131" y="108"/>
                  </a:cubicBezTo>
                  <a:cubicBezTo>
                    <a:pt x="142" y="105"/>
                    <a:pt x="152" y="101"/>
                    <a:pt x="162" y="96"/>
                  </a:cubicBezTo>
                  <a:cubicBezTo>
                    <a:pt x="180" y="85"/>
                    <a:pt x="196" y="69"/>
                    <a:pt x="216" y="63"/>
                  </a:cubicBezTo>
                  <a:cubicBezTo>
                    <a:pt x="221" y="61"/>
                    <a:pt x="225" y="60"/>
                    <a:pt x="230" y="59"/>
                  </a:cubicBezTo>
                  <a:cubicBezTo>
                    <a:pt x="232" y="58"/>
                    <a:pt x="234" y="56"/>
                    <a:pt x="236" y="55"/>
                  </a:cubicBezTo>
                  <a:cubicBezTo>
                    <a:pt x="238" y="54"/>
                    <a:pt x="239" y="52"/>
                    <a:pt x="240" y="50"/>
                  </a:cubicBezTo>
                  <a:cubicBezTo>
                    <a:pt x="242" y="46"/>
                    <a:pt x="242" y="41"/>
                    <a:pt x="243" y="37"/>
                  </a:cubicBezTo>
                  <a:cubicBezTo>
                    <a:pt x="243" y="33"/>
                    <a:pt x="245" y="29"/>
                    <a:pt x="246" y="24"/>
                  </a:cubicBezTo>
                  <a:cubicBezTo>
                    <a:pt x="246" y="20"/>
                    <a:pt x="247" y="15"/>
                    <a:pt x="245" y="11"/>
                  </a:cubicBezTo>
                  <a:cubicBezTo>
                    <a:pt x="243" y="7"/>
                    <a:pt x="240" y="4"/>
                    <a:pt x="236" y="2"/>
                  </a:cubicBezTo>
                  <a:cubicBezTo>
                    <a:pt x="233" y="1"/>
                    <a:pt x="229" y="0"/>
                    <a:pt x="225" y="0"/>
                  </a:cubicBezTo>
                  <a:cubicBezTo>
                    <a:pt x="216" y="0"/>
                    <a:pt x="208" y="2"/>
                    <a:pt x="200" y="3"/>
                  </a:cubicBezTo>
                  <a:cubicBezTo>
                    <a:pt x="190" y="4"/>
                    <a:pt x="179" y="2"/>
                    <a:pt x="168" y="3"/>
                  </a:cubicBezTo>
                  <a:cubicBezTo>
                    <a:pt x="155" y="3"/>
                    <a:pt x="142" y="6"/>
                    <a:pt x="129" y="6"/>
                  </a:cubicBezTo>
                  <a:cubicBezTo>
                    <a:pt x="113" y="7"/>
                    <a:pt x="98" y="5"/>
                    <a:pt x="83" y="4"/>
                  </a:cubicBezTo>
                  <a:cubicBezTo>
                    <a:pt x="70" y="4"/>
                    <a:pt x="56" y="5"/>
                    <a:pt x="45" y="12"/>
                  </a:cubicBezTo>
                  <a:cubicBezTo>
                    <a:pt x="40" y="15"/>
                    <a:pt x="35" y="19"/>
                    <a:pt x="30" y="23"/>
                  </a:cubicBezTo>
                  <a:cubicBezTo>
                    <a:pt x="26" y="27"/>
                    <a:pt x="20" y="30"/>
                    <a:pt x="14" y="31"/>
                  </a:cubicBezTo>
                  <a:cubicBezTo>
                    <a:pt x="12" y="31"/>
                    <a:pt x="10" y="30"/>
                    <a:pt x="9" y="31"/>
                  </a:cubicBezTo>
                  <a:cubicBezTo>
                    <a:pt x="6" y="31"/>
                    <a:pt x="4" y="33"/>
                    <a:pt x="2" y="35"/>
                  </a:cubicBezTo>
                  <a:cubicBezTo>
                    <a:pt x="1" y="37"/>
                    <a:pt x="0" y="39"/>
                    <a:pt x="0" y="42"/>
                  </a:cubicBezTo>
                  <a:close/>
                </a:path>
              </a:pathLst>
            </a:custGeom>
            <a:solidFill>
              <a:srgbClr val="0973D1"/>
            </a:solidFill>
            <a:ln w="34925" cap="rnd">
              <a:noFill/>
              <a:prstDash val="solid"/>
              <a:round/>
              <a:headEnd/>
              <a:tailEnd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92" name="Freeform 39"/>
            <p:cNvSpPr>
              <a:spLocks/>
            </p:cNvSpPr>
            <p:nvPr/>
          </p:nvSpPr>
          <p:spPr bwMode="auto">
            <a:xfrm>
              <a:off x="2838450" y="3594100"/>
              <a:ext cx="709613" cy="358775"/>
            </a:xfrm>
            <a:custGeom>
              <a:avLst/>
              <a:gdLst>
                <a:gd name="T0" fmla="*/ 0 w 245"/>
                <a:gd name="T1" fmla="*/ 45 h 124"/>
                <a:gd name="T2" fmla="*/ 1 w 245"/>
                <a:gd name="T3" fmla="*/ 48 h 124"/>
                <a:gd name="T4" fmla="*/ 5 w 245"/>
                <a:gd name="T5" fmla="*/ 53 h 124"/>
                <a:gd name="T6" fmla="*/ 11 w 245"/>
                <a:gd name="T7" fmla="*/ 56 h 124"/>
                <a:gd name="T8" fmla="*/ 34 w 245"/>
                <a:gd name="T9" fmla="*/ 79 h 124"/>
                <a:gd name="T10" fmla="*/ 64 w 245"/>
                <a:gd name="T11" fmla="*/ 112 h 124"/>
                <a:gd name="T12" fmla="*/ 93 w 245"/>
                <a:gd name="T13" fmla="*/ 123 h 124"/>
                <a:gd name="T14" fmla="*/ 130 w 245"/>
                <a:gd name="T15" fmla="*/ 119 h 124"/>
                <a:gd name="T16" fmla="*/ 161 w 245"/>
                <a:gd name="T17" fmla="*/ 105 h 124"/>
                <a:gd name="T18" fmla="*/ 215 w 245"/>
                <a:gd name="T19" fmla="*/ 69 h 124"/>
                <a:gd name="T20" fmla="*/ 229 w 245"/>
                <a:gd name="T21" fmla="*/ 64 h 124"/>
                <a:gd name="T22" fmla="*/ 239 w 245"/>
                <a:gd name="T23" fmla="*/ 55 h 124"/>
                <a:gd name="T24" fmla="*/ 242 w 245"/>
                <a:gd name="T25" fmla="*/ 42 h 124"/>
                <a:gd name="T26" fmla="*/ 245 w 245"/>
                <a:gd name="T27" fmla="*/ 24 h 124"/>
                <a:gd name="T28" fmla="*/ 245 w 245"/>
                <a:gd name="T29" fmla="*/ 15 h 124"/>
                <a:gd name="T30" fmla="*/ 242 w 245"/>
                <a:gd name="T31" fmla="*/ 7 h 124"/>
                <a:gd name="T32" fmla="*/ 232 w 245"/>
                <a:gd name="T33" fmla="*/ 1 h 124"/>
                <a:gd name="T34" fmla="*/ 221 w 245"/>
                <a:gd name="T35" fmla="*/ 0 h 124"/>
                <a:gd name="T36" fmla="*/ 199 w 245"/>
                <a:gd name="T37" fmla="*/ 4 h 124"/>
                <a:gd name="T38" fmla="*/ 167 w 245"/>
                <a:gd name="T39" fmla="*/ 4 h 124"/>
                <a:gd name="T40" fmla="*/ 128 w 245"/>
                <a:gd name="T41" fmla="*/ 8 h 124"/>
                <a:gd name="T42" fmla="*/ 82 w 245"/>
                <a:gd name="T43" fmla="*/ 6 h 124"/>
                <a:gd name="T44" fmla="*/ 62 w 245"/>
                <a:gd name="T45" fmla="*/ 7 h 124"/>
                <a:gd name="T46" fmla="*/ 44 w 245"/>
                <a:gd name="T47" fmla="*/ 14 h 124"/>
                <a:gd name="T48" fmla="*/ 30 w 245"/>
                <a:gd name="T49" fmla="*/ 27 h 124"/>
                <a:gd name="T50" fmla="*/ 22 w 245"/>
                <a:gd name="T51" fmla="*/ 32 h 124"/>
                <a:gd name="T52" fmla="*/ 13 w 245"/>
                <a:gd name="T53" fmla="*/ 34 h 124"/>
                <a:gd name="T54" fmla="*/ 8 w 245"/>
                <a:gd name="T55" fmla="*/ 34 h 124"/>
                <a:gd name="T56" fmla="*/ 5 w 245"/>
                <a:gd name="T57" fmla="*/ 36 h 124"/>
                <a:gd name="T58" fmla="*/ 3 w 245"/>
                <a:gd name="T59" fmla="*/ 39 h 124"/>
                <a:gd name="T60" fmla="*/ 0 w 245"/>
                <a:gd name="T61" fmla="*/ 4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45" h="124">
                  <a:moveTo>
                    <a:pt x="0" y="45"/>
                  </a:moveTo>
                  <a:cubicBezTo>
                    <a:pt x="0" y="46"/>
                    <a:pt x="0" y="47"/>
                    <a:pt x="1" y="48"/>
                  </a:cubicBezTo>
                  <a:cubicBezTo>
                    <a:pt x="2" y="50"/>
                    <a:pt x="4" y="51"/>
                    <a:pt x="5" y="53"/>
                  </a:cubicBezTo>
                  <a:cubicBezTo>
                    <a:pt x="7" y="54"/>
                    <a:pt x="9" y="55"/>
                    <a:pt x="11" y="56"/>
                  </a:cubicBezTo>
                  <a:cubicBezTo>
                    <a:pt x="20" y="62"/>
                    <a:pt x="28" y="70"/>
                    <a:pt x="34" y="79"/>
                  </a:cubicBezTo>
                  <a:cubicBezTo>
                    <a:pt x="44" y="91"/>
                    <a:pt x="52" y="104"/>
                    <a:pt x="64" y="112"/>
                  </a:cubicBezTo>
                  <a:cubicBezTo>
                    <a:pt x="72" y="118"/>
                    <a:pt x="83" y="122"/>
                    <a:pt x="93" y="123"/>
                  </a:cubicBezTo>
                  <a:cubicBezTo>
                    <a:pt x="105" y="124"/>
                    <a:pt x="118" y="122"/>
                    <a:pt x="130" y="119"/>
                  </a:cubicBezTo>
                  <a:cubicBezTo>
                    <a:pt x="141" y="115"/>
                    <a:pt x="151" y="111"/>
                    <a:pt x="161" y="105"/>
                  </a:cubicBezTo>
                  <a:cubicBezTo>
                    <a:pt x="180" y="93"/>
                    <a:pt x="195" y="77"/>
                    <a:pt x="215" y="69"/>
                  </a:cubicBezTo>
                  <a:cubicBezTo>
                    <a:pt x="220" y="68"/>
                    <a:pt x="225" y="66"/>
                    <a:pt x="229" y="64"/>
                  </a:cubicBezTo>
                  <a:cubicBezTo>
                    <a:pt x="233" y="62"/>
                    <a:pt x="237" y="59"/>
                    <a:pt x="239" y="55"/>
                  </a:cubicBezTo>
                  <a:cubicBezTo>
                    <a:pt x="241" y="51"/>
                    <a:pt x="241" y="46"/>
                    <a:pt x="242" y="42"/>
                  </a:cubicBezTo>
                  <a:cubicBezTo>
                    <a:pt x="242" y="36"/>
                    <a:pt x="244" y="30"/>
                    <a:pt x="245" y="24"/>
                  </a:cubicBezTo>
                  <a:cubicBezTo>
                    <a:pt x="245" y="21"/>
                    <a:pt x="245" y="18"/>
                    <a:pt x="245" y="15"/>
                  </a:cubicBezTo>
                  <a:cubicBezTo>
                    <a:pt x="244" y="13"/>
                    <a:pt x="243" y="10"/>
                    <a:pt x="242" y="7"/>
                  </a:cubicBezTo>
                  <a:cubicBezTo>
                    <a:pt x="239" y="4"/>
                    <a:pt x="236" y="2"/>
                    <a:pt x="232" y="1"/>
                  </a:cubicBezTo>
                  <a:cubicBezTo>
                    <a:pt x="229" y="0"/>
                    <a:pt x="225" y="0"/>
                    <a:pt x="221" y="0"/>
                  </a:cubicBezTo>
                  <a:cubicBezTo>
                    <a:pt x="214" y="1"/>
                    <a:pt x="207" y="3"/>
                    <a:pt x="199" y="4"/>
                  </a:cubicBezTo>
                  <a:cubicBezTo>
                    <a:pt x="189" y="6"/>
                    <a:pt x="178" y="4"/>
                    <a:pt x="167" y="4"/>
                  </a:cubicBezTo>
                  <a:cubicBezTo>
                    <a:pt x="154" y="4"/>
                    <a:pt x="141" y="7"/>
                    <a:pt x="128" y="8"/>
                  </a:cubicBezTo>
                  <a:cubicBezTo>
                    <a:pt x="112" y="9"/>
                    <a:pt x="97" y="7"/>
                    <a:pt x="82" y="6"/>
                  </a:cubicBezTo>
                  <a:cubicBezTo>
                    <a:pt x="75" y="6"/>
                    <a:pt x="69" y="6"/>
                    <a:pt x="62" y="7"/>
                  </a:cubicBezTo>
                  <a:cubicBezTo>
                    <a:pt x="56" y="8"/>
                    <a:pt x="50" y="10"/>
                    <a:pt x="44" y="14"/>
                  </a:cubicBezTo>
                  <a:cubicBezTo>
                    <a:pt x="39" y="17"/>
                    <a:pt x="35" y="22"/>
                    <a:pt x="30" y="27"/>
                  </a:cubicBezTo>
                  <a:cubicBezTo>
                    <a:pt x="27" y="29"/>
                    <a:pt x="25" y="31"/>
                    <a:pt x="22" y="32"/>
                  </a:cubicBezTo>
                  <a:cubicBezTo>
                    <a:pt x="19" y="33"/>
                    <a:pt x="16" y="34"/>
                    <a:pt x="13" y="34"/>
                  </a:cubicBezTo>
                  <a:cubicBezTo>
                    <a:pt x="11" y="34"/>
                    <a:pt x="9" y="34"/>
                    <a:pt x="8" y="34"/>
                  </a:cubicBezTo>
                  <a:cubicBezTo>
                    <a:pt x="7" y="35"/>
                    <a:pt x="6" y="35"/>
                    <a:pt x="5" y="36"/>
                  </a:cubicBezTo>
                  <a:cubicBezTo>
                    <a:pt x="4" y="37"/>
                    <a:pt x="4" y="38"/>
                    <a:pt x="3" y="39"/>
                  </a:cubicBezTo>
                  <a:cubicBezTo>
                    <a:pt x="2" y="41"/>
                    <a:pt x="1" y="43"/>
                    <a:pt x="0" y="4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973D1"/>
              </a:solidFill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93" name="Freeform 40"/>
            <p:cNvSpPr>
              <a:spLocks/>
            </p:cNvSpPr>
            <p:nvPr/>
          </p:nvSpPr>
          <p:spPr bwMode="auto">
            <a:xfrm>
              <a:off x="2865438" y="3562350"/>
              <a:ext cx="615950" cy="271463"/>
            </a:xfrm>
            <a:custGeom>
              <a:avLst/>
              <a:gdLst>
                <a:gd name="T0" fmla="*/ 24 w 213"/>
                <a:gd name="T1" fmla="*/ 22 h 94"/>
                <a:gd name="T2" fmla="*/ 8 w 213"/>
                <a:gd name="T3" fmla="*/ 33 h 94"/>
                <a:gd name="T4" fmla="*/ 2 w 213"/>
                <a:gd name="T5" fmla="*/ 39 h 94"/>
                <a:gd name="T6" fmla="*/ 0 w 213"/>
                <a:gd name="T7" fmla="*/ 46 h 94"/>
                <a:gd name="T8" fmla="*/ 0 w 213"/>
                <a:gd name="T9" fmla="*/ 53 h 94"/>
                <a:gd name="T10" fmla="*/ 0 w 213"/>
                <a:gd name="T11" fmla="*/ 58 h 94"/>
                <a:gd name="T12" fmla="*/ 0 w 213"/>
                <a:gd name="T13" fmla="*/ 60 h 94"/>
                <a:gd name="T14" fmla="*/ 1 w 213"/>
                <a:gd name="T15" fmla="*/ 62 h 94"/>
                <a:gd name="T16" fmla="*/ 4 w 213"/>
                <a:gd name="T17" fmla="*/ 63 h 94"/>
                <a:gd name="T18" fmla="*/ 6 w 213"/>
                <a:gd name="T19" fmla="*/ 64 h 94"/>
                <a:gd name="T20" fmla="*/ 19 w 213"/>
                <a:gd name="T21" fmla="*/ 71 h 94"/>
                <a:gd name="T22" fmla="*/ 30 w 213"/>
                <a:gd name="T23" fmla="*/ 81 h 94"/>
                <a:gd name="T24" fmla="*/ 66 w 213"/>
                <a:gd name="T25" fmla="*/ 93 h 94"/>
                <a:gd name="T26" fmla="*/ 105 w 213"/>
                <a:gd name="T27" fmla="*/ 88 h 94"/>
                <a:gd name="T28" fmla="*/ 135 w 213"/>
                <a:gd name="T29" fmla="*/ 80 h 94"/>
                <a:gd name="T30" fmla="*/ 176 w 213"/>
                <a:gd name="T31" fmla="*/ 55 h 94"/>
                <a:gd name="T32" fmla="*/ 193 w 213"/>
                <a:gd name="T33" fmla="*/ 42 h 94"/>
                <a:gd name="T34" fmla="*/ 210 w 213"/>
                <a:gd name="T35" fmla="*/ 33 h 94"/>
                <a:gd name="T36" fmla="*/ 211 w 213"/>
                <a:gd name="T37" fmla="*/ 32 h 94"/>
                <a:gd name="T38" fmla="*/ 212 w 213"/>
                <a:gd name="T39" fmla="*/ 31 h 94"/>
                <a:gd name="T40" fmla="*/ 212 w 213"/>
                <a:gd name="T41" fmla="*/ 28 h 94"/>
                <a:gd name="T42" fmla="*/ 211 w 213"/>
                <a:gd name="T43" fmla="*/ 25 h 94"/>
                <a:gd name="T44" fmla="*/ 209 w 213"/>
                <a:gd name="T45" fmla="*/ 23 h 94"/>
                <a:gd name="T46" fmla="*/ 187 w 213"/>
                <a:gd name="T47" fmla="*/ 16 h 94"/>
                <a:gd name="T48" fmla="*/ 165 w 213"/>
                <a:gd name="T49" fmla="*/ 14 h 94"/>
                <a:gd name="T50" fmla="*/ 145 w 213"/>
                <a:gd name="T51" fmla="*/ 8 h 94"/>
                <a:gd name="T52" fmla="*/ 123 w 213"/>
                <a:gd name="T53" fmla="*/ 3 h 94"/>
                <a:gd name="T54" fmla="*/ 71 w 213"/>
                <a:gd name="T55" fmla="*/ 4 h 94"/>
                <a:gd name="T56" fmla="*/ 24 w 213"/>
                <a:gd name="T57" fmla="*/ 2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3" h="94">
                  <a:moveTo>
                    <a:pt x="24" y="22"/>
                  </a:moveTo>
                  <a:cubicBezTo>
                    <a:pt x="19" y="25"/>
                    <a:pt x="14" y="29"/>
                    <a:pt x="8" y="33"/>
                  </a:cubicBezTo>
                  <a:cubicBezTo>
                    <a:pt x="6" y="34"/>
                    <a:pt x="3" y="36"/>
                    <a:pt x="2" y="39"/>
                  </a:cubicBezTo>
                  <a:cubicBezTo>
                    <a:pt x="1" y="41"/>
                    <a:pt x="0" y="44"/>
                    <a:pt x="0" y="46"/>
                  </a:cubicBezTo>
                  <a:cubicBezTo>
                    <a:pt x="0" y="48"/>
                    <a:pt x="1" y="51"/>
                    <a:pt x="0" y="53"/>
                  </a:cubicBezTo>
                  <a:cubicBezTo>
                    <a:pt x="0" y="54"/>
                    <a:pt x="0" y="56"/>
                    <a:pt x="0" y="58"/>
                  </a:cubicBezTo>
                  <a:cubicBezTo>
                    <a:pt x="0" y="58"/>
                    <a:pt x="0" y="59"/>
                    <a:pt x="0" y="60"/>
                  </a:cubicBezTo>
                  <a:cubicBezTo>
                    <a:pt x="0" y="61"/>
                    <a:pt x="0" y="61"/>
                    <a:pt x="1" y="62"/>
                  </a:cubicBezTo>
                  <a:cubicBezTo>
                    <a:pt x="2" y="63"/>
                    <a:pt x="3" y="63"/>
                    <a:pt x="4" y="63"/>
                  </a:cubicBezTo>
                  <a:cubicBezTo>
                    <a:pt x="4" y="64"/>
                    <a:pt x="5" y="64"/>
                    <a:pt x="6" y="64"/>
                  </a:cubicBezTo>
                  <a:cubicBezTo>
                    <a:pt x="11" y="65"/>
                    <a:pt x="15" y="68"/>
                    <a:pt x="19" y="71"/>
                  </a:cubicBezTo>
                  <a:cubicBezTo>
                    <a:pt x="23" y="75"/>
                    <a:pt x="26" y="78"/>
                    <a:pt x="30" y="81"/>
                  </a:cubicBezTo>
                  <a:cubicBezTo>
                    <a:pt x="40" y="90"/>
                    <a:pt x="53" y="93"/>
                    <a:pt x="66" y="93"/>
                  </a:cubicBezTo>
                  <a:cubicBezTo>
                    <a:pt x="80" y="94"/>
                    <a:pt x="93" y="91"/>
                    <a:pt x="105" y="88"/>
                  </a:cubicBezTo>
                  <a:cubicBezTo>
                    <a:pt x="116" y="86"/>
                    <a:pt x="126" y="83"/>
                    <a:pt x="135" y="80"/>
                  </a:cubicBezTo>
                  <a:cubicBezTo>
                    <a:pt x="150" y="74"/>
                    <a:pt x="164" y="66"/>
                    <a:pt x="176" y="55"/>
                  </a:cubicBezTo>
                  <a:cubicBezTo>
                    <a:pt x="181" y="51"/>
                    <a:pt x="187" y="46"/>
                    <a:pt x="193" y="42"/>
                  </a:cubicBezTo>
                  <a:cubicBezTo>
                    <a:pt x="198" y="38"/>
                    <a:pt x="204" y="36"/>
                    <a:pt x="210" y="33"/>
                  </a:cubicBezTo>
                  <a:cubicBezTo>
                    <a:pt x="210" y="33"/>
                    <a:pt x="211" y="32"/>
                    <a:pt x="211" y="32"/>
                  </a:cubicBezTo>
                  <a:cubicBezTo>
                    <a:pt x="211" y="31"/>
                    <a:pt x="212" y="31"/>
                    <a:pt x="212" y="31"/>
                  </a:cubicBezTo>
                  <a:cubicBezTo>
                    <a:pt x="213" y="30"/>
                    <a:pt x="213" y="29"/>
                    <a:pt x="212" y="28"/>
                  </a:cubicBezTo>
                  <a:cubicBezTo>
                    <a:pt x="212" y="27"/>
                    <a:pt x="211" y="26"/>
                    <a:pt x="211" y="25"/>
                  </a:cubicBezTo>
                  <a:cubicBezTo>
                    <a:pt x="210" y="24"/>
                    <a:pt x="209" y="24"/>
                    <a:pt x="209" y="23"/>
                  </a:cubicBezTo>
                  <a:cubicBezTo>
                    <a:pt x="203" y="18"/>
                    <a:pt x="195" y="16"/>
                    <a:pt x="187" y="16"/>
                  </a:cubicBezTo>
                  <a:cubicBezTo>
                    <a:pt x="180" y="15"/>
                    <a:pt x="172" y="15"/>
                    <a:pt x="165" y="14"/>
                  </a:cubicBezTo>
                  <a:cubicBezTo>
                    <a:pt x="158" y="13"/>
                    <a:pt x="151" y="10"/>
                    <a:pt x="145" y="8"/>
                  </a:cubicBezTo>
                  <a:cubicBezTo>
                    <a:pt x="137" y="6"/>
                    <a:pt x="130" y="4"/>
                    <a:pt x="123" y="3"/>
                  </a:cubicBezTo>
                  <a:cubicBezTo>
                    <a:pt x="106" y="0"/>
                    <a:pt x="88" y="1"/>
                    <a:pt x="71" y="4"/>
                  </a:cubicBezTo>
                  <a:cubicBezTo>
                    <a:pt x="54" y="8"/>
                    <a:pt x="38" y="14"/>
                    <a:pt x="24" y="22"/>
                  </a:cubicBezTo>
                  <a:close/>
                </a:path>
              </a:pathLst>
            </a:custGeom>
            <a:solidFill>
              <a:srgbClr val="0973D1"/>
            </a:solidFill>
            <a:ln w="34925" cap="rnd">
              <a:noFill/>
              <a:prstDash val="solid"/>
              <a:round/>
              <a:headEnd/>
              <a:tailEnd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94" name="Freeform 41"/>
            <p:cNvSpPr>
              <a:spLocks/>
            </p:cNvSpPr>
            <p:nvPr/>
          </p:nvSpPr>
          <p:spPr bwMode="auto">
            <a:xfrm>
              <a:off x="2836863" y="3457575"/>
              <a:ext cx="701675" cy="358775"/>
            </a:xfrm>
            <a:custGeom>
              <a:avLst/>
              <a:gdLst>
                <a:gd name="T0" fmla="*/ 32 w 243"/>
                <a:gd name="T1" fmla="*/ 40 h 124"/>
                <a:gd name="T2" fmla="*/ 12 w 243"/>
                <a:gd name="T3" fmla="*/ 59 h 124"/>
                <a:gd name="T4" fmla="*/ 4 w 243"/>
                <a:gd name="T5" fmla="*/ 73 h 124"/>
                <a:gd name="T6" fmla="*/ 1 w 243"/>
                <a:gd name="T7" fmla="*/ 85 h 124"/>
                <a:gd name="T8" fmla="*/ 0 w 243"/>
                <a:gd name="T9" fmla="*/ 90 h 124"/>
                <a:gd name="T10" fmla="*/ 1 w 243"/>
                <a:gd name="T11" fmla="*/ 92 h 124"/>
                <a:gd name="T12" fmla="*/ 2 w 243"/>
                <a:gd name="T13" fmla="*/ 94 h 124"/>
                <a:gd name="T14" fmla="*/ 5 w 243"/>
                <a:gd name="T15" fmla="*/ 96 h 124"/>
                <a:gd name="T16" fmla="*/ 9 w 243"/>
                <a:gd name="T17" fmla="*/ 96 h 124"/>
                <a:gd name="T18" fmla="*/ 25 w 243"/>
                <a:gd name="T19" fmla="*/ 103 h 124"/>
                <a:gd name="T20" fmla="*/ 40 w 243"/>
                <a:gd name="T21" fmla="*/ 113 h 124"/>
                <a:gd name="T22" fmla="*/ 77 w 243"/>
                <a:gd name="T23" fmla="*/ 124 h 124"/>
                <a:gd name="T24" fmla="*/ 115 w 243"/>
                <a:gd name="T25" fmla="*/ 120 h 124"/>
                <a:gd name="T26" fmla="*/ 145 w 243"/>
                <a:gd name="T27" fmla="*/ 112 h 124"/>
                <a:gd name="T28" fmla="*/ 186 w 243"/>
                <a:gd name="T29" fmla="*/ 87 h 124"/>
                <a:gd name="T30" fmla="*/ 203 w 243"/>
                <a:gd name="T31" fmla="*/ 74 h 124"/>
                <a:gd name="T32" fmla="*/ 208 w 243"/>
                <a:gd name="T33" fmla="*/ 69 h 124"/>
                <a:gd name="T34" fmla="*/ 214 w 243"/>
                <a:gd name="T35" fmla="*/ 65 h 124"/>
                <a:gd name="T36" fmla="*/ 225 w 243"/>
                <a:gd name="T37" fmla="*/ 65 h 124"/>
                <a:gd name="T38" fmla="*/ 234 w 243"/>
                <a:gd name="T39" fmla="*/ 66 h 124"/>
                <a:gd name="T40" fmla="*/ 238 w 243"/>
                <a:gd name="T41" fmla="*/ 65 h 124"/>
                <a:gd name="T42" fmla="*/ 241 w 243"/>
                <a:gd name="T43" fmla="*/ 63 h 124"/>
                <a:gd name="T44" fmla="*/ 243 w 243"/>
                <a:gd name="T45" fmla="*/ 57 h 124"/>
                <a:gd name="T46" fmla="*/ 242 w 243"/>
                <a:gd name="T47" fmla="*/ 52 h 124"/>
                <a:gd name="T48" fmla="*/ 233 w 243"/>
                <a:gd name="T49" fmla="*/ 45 h 124"/>
                <a:gd name="T50" fmla="*/ 219 w 243"/>
                <a:gd name="T51" fmla="*/ 41 h 124"/>
                <a:gd name="T52" fmla="*/ 175 w 243"/>
                <a:gd name="T53" fmla="*/ 25 h 124"/>
                <a:gd name="T54" fmla="*/ 155 w 243"/>
                <a:gd name="T55" fmla="*/ 14 h 124"/>
                <a:gd name="T56" fmla="*/ 133 w 243"/>
                <a:gd name="T57" fmla="*/ 5 h 124"/>
                <a:gd name="T58" fmla="*/ 81 w 243"/>
                <a:gd name="T59" fmla="*/ 7 h 124"/>
                <a:gd name="T60" fmla="*/ 32 w 243"/>
                <a:gd name="T61" fmla="*/ 4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43" h="124">
                  <a:moveTo>
                    <a:pt x="32" y="40"/>
                  </a:moveTo>
                  <a:cubicBezTo>
                    <a:pt x="25" y="45"/>
                    <a:pt x="18" y="52"/>
                    <a:pt x="12" y="59"/>
                  </a:cubicBezTo>
                  <a:cubicBezTo>
                    <a:pt x="8" y="63"/>
                    <a:pt x="5" y="67"/>
                    <a:pt x="4" y="73"/>
                  </a:cubicBezTo>
                  <a:cubicBezTo>
                    <a:pt x="2" y="77"/>
                    <a:pt x="2" y="81"/>
                    <a:pt x="1" y="85"/>
                  </a:cubicBezTo>
                  <a:cubicBezTo>
                    <a:pt x="1" y="86"/>
                    <a:pt x="0" y="88"/>
                    <a:pt x="0" y="90"/>
                  </a:cubicBezTo>
                  <a:cubicBezTo>
                    <a:pt x="0" y="90"/>
                    <a:pt x="0" y="91"/>
                    <a:pt x="1" y="92"/>
                  </a:cubicBezTo>
                  <a:cubicBezTo>
                    <a:pt x="1" y="93"/>
                    <a:pt x="1" y="93"/>
                    <a:pt x="2" y="94"/>
                  </a:cubicBezTo>
                  <a:cubicBezTo>
                    <a:pt x="3" y="95"/>
                    <a:pt x="4" y="95"/>
                    <a:pt x="5" y="96"/>
                  </a:cubicBezTo>
                  <a:cubicBezTo>
                    <a:pt x="7" y="96"/>
                    <a:pt x="8" y="96"/>
                    <a:pt x="9" y="96"/>
                  </a:cubicBezTo>
                  <a:cubicBezTo>
                    <a:pt x="15" y="97"/>
                    <a:pt x="20" y="100"/>
                    <a:pt x="25" y="103"/>
                  </a:cubicBezTo>
                  <a:cubicBezTo>
                    <a:pt x="30" y="106"/>
                    <a:pt x="35" y="110"/>
                    <a:pt x="40" y="113"/>
                  </a:cubicBezTo>
                  <a:cubicBezTo>
                    <a:pt x="51" y="120"/>
                    <a:pt x="64" y="123"/>
                    <a:pt x="77" y="124"/>
                  </a:cubicBezTo>
                  <a:cubicBezTo>
                    <a:pt x="90" y="124"/>
                    <a:pt x="103" y="122"/>
                    <a:pt x="115" y="120"/>
                  </a:cubicBezTo>
                  <a:cubicBezTo>
                    <a:pt x="126" y="118"/>
                    <a:pt x="136" y="115"/>
                    <a:pt x="145" y="112"/>
                  </a:cubicBezTo>
                  <a:cubicBezTo>
                    <a:pt x="160" y="106"/>
                    <a:pt x="173" y="97"/>
                    <a:pt x="186" y="87"/>
                  </a:cubicBezTo>
                  <a:cubicBezTo>
                    <a:pt x="192" y="83"/>
                    <a:pt x="198" y="79"/>
                    <a:pt x="203" y="74"/>
                  </a:cubicBezTo>
                  <a:cubicBezTo>
                    <a:pt x="204" y="72"/>
                    <a:pt x="206" y="70"/>
                    <a:pt x="208" y="69"/>
                  </a:cubicBezTo>
                  <a:cubicBezTo>
                    <a:pt x="210" y="67"/>
                    <a:pt x="212" y="66"/>
                    <a:pt x="214" y="65"/>
                  </a:cubicBezTo>
                  <a:cubicBezTo>
                    <a:pt x="218" y="64"/>
                    <a:pt x="222" y="64"/>
                    <a:pt x="225" y="65"/>
                  </a:cubicBezTo>
                  <a:cubicBezTo>
                    <a:pt x="228" y="65"/>
                    <a:pt x="231" y="66"/>
                    <a:pt x="234" y="66"/>
                  </a:cubicBezTo>
                  <a:cubicBezTo>
                    <a:pt x="235" y="66"/>
                    <a:pt x="237" y="65"/>
                    <a:pt x="238" y="65"/>
                  </a:cubicBezTo>
                  <a:cubicBezTo>
                    <a:pt x="239" y="64"/>
                    <a:pt x="240" y="64"/>
                    <a:pt x="241" y="63"/>
                  </a:cubicBezTo>
                  <a:cubicBezTo>
                    <a:pt x="242" y="61"/>
                    <a:pt x="243" y="59"/>
                    <a:pt x="243" y="57"/>
                  </a:cubicBezTo>
                  <a:cubicBezTo>
                    <a:pt x="243" y="56"/>
                    <a:pt x="242" y="54"/>
                    <a:pt x="242" y="52"/>
                  </a:cubicBezTo>
                  <a:cubicBezTo>
                    <a:pt x="240" y="49"/>
                    <a:pt x="236" y="47"/>
                    <a:pt x="233" y="45"/>
                  </a:cubicBezTo>
                  <a:cubicBezTo>
                    <a:pt x="228" y="43"/>
                    <a:pt x="223" y="42"/>
                    <a:pt x="219" y="41"/>
                  </a:cubicBezTo>
                  <a:cubicBezTo>
                    <a:pt x="203" y="37"/>
                    <a:pt x="189" y="32"/>
                    <a:pt x="175" y="25"/>
                  </a:cubicBezTo>
                  <a:cubicBezTo>
                    <a:pt x="168" y="22"/>
                    <a:pt x="161" y="18"/>
                    <a:pt x="155" y="14"/>
                  </a:cubicBezTo>
                  <a:cubicBezTo>
                    <a:pt x="148" y="11"/>
                    <a:pt x="140" y="7"/>
                    <a:pt x="133" y="5"/>
                  </a:cubicBezTo>
                  <a:cubicBezTo>
                    <a:pt x="116" y="0"/>
                    <a:pt x="97" y="1"/>
                    <a:pt x="81" y="7"/>
                  </a:cubicBezTo>
                  <a:cubicBezTo>
                    <a:pt x="62" y="13"/>
                    <a:pt x="45" y="25"/>
                    <a:pt x="32" y="4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95" name="Freeform 42"/>
            <p:cNvSpPr>
              <a:spLocks noEditPoints="1"/>
            </p:cNvSpPr>
            <p:nvPr/>
          </p:nvSpPr>
          <p:spPr bwMode="auto">
            <a:xfrm>
              <a:off x="3021013" y="3502025"/>
              <a:ext cx="228600" cy="33338"/>
            </a:xfrm>
            <a:custGeom>
              <a:avLst/>
              <a:gdLst>
                <a:gd name="T0" fmla="*/ 62 w 79"/>
                <a:gd name="T1" fmla="*/ 0 h 12"/>
                <a:gd name="T2" fmla="*/ 57 w 79"/>
                <a:gd name="T3" fmla="*/ 1 h 12"/>
                <a:gd name="T4" fmla="*/ 55 w 79"/>
                <a:gd name="T5" fmla="*/ 4 h 12"/>
                <a:gd name="T6" fmla="*/ 64 w 79"/>
                <a:gd name="T7" fmla="*/ 8 h 12"/>
                <a:gd name="T8" fmla="*/ 71 w 79"/>
                <a:gd name="T9" fmla="*/ 12 h 12"/>
                <a:gd name="T10" fmla="*/ 78 w 79"/>
                <a:gd name="T11" fmla="*/ 8 h 12"/>
                <a:gd name="T12" fmla="*/ 70 w 79"/>
                <a:gd name="T13" fmla="*/ 1 h 12"/>
                <a:gd name="T14" fmla="*/ 62 w 79"/>
                <a:gd name="T15" fmla="*/ 0 h 12"/>
                <a:gd name="T16" fmla="*/ 8 w 79"/>
                <a:gd name="T17" fmla="*/ 2 h 12"/>
                <a:gd name="T18" fmla="*/ 2 w 79"/>
                <a:gd name="T19" fmla="*/ 10 h 12"/>
                <a:gd name="T20" fmla="*/ 5 w 79"/>
                <a:gd name="T21" fmla="*/ 12 h 12"/>
                <a:gd name="T22" fmla="*/ 10 w 79"/>
                <a:gd name="T23" fmla="*/ 6 h 12"/>
                <a:gd name="T24" fmla="*/ 9 w 79"/>
                <a:gd name="T25" fmla="*/ 2 h 12"/>
                <a:gd name="T26" fmla="*/ 8 w 79"/>
                <a:gd name="T2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12">
                  <a:moveTo>
                    <a:pt x="62" y="0"/>
                  </a:moveTo>
                  <a:cubicBezTo>
                    <a:pt x="60" y="0"/>
                    <a:pt x="58" y="0"/>
                    <a:pt x="57" y="1"/>
                  </a:cubicBezTo>
                  <a:cubicBezTo>
                    <a:pt x="56" y="2"/>
                    <a:pt x="55" y="3"/>
                    <a:pt x="55" y="4"/>
                  </a:cubicBezTo>
                  <a:cubicBezTo>
                    <a:pt x="56" y="7"/>
                    <a:pt x="61" y="6"/>
                    <a:pt x="64" y="8"/>
                  </a:cubicBezTo>
                  <a:cubicBezTo>
                    <a:pt x="66" y="9"/>
                    <a:pt x="68" y="12"/>
                    <a:pt x="71" y="12"/>
                  </a:cubicBezTo>
                  <a:cubicBezTo>
                    <a:pt x="74" y="12"/>
                    <a:pt x="78" y="11"/>
                    <a:pt x="78" y="8"/>
                  </a:cubicBezTo>
                  <a:cubicBezTo>
                    <a:pt x="79" y="5"/>
                    <a:pt x="74" y="3"/>
                    <a:pt x="70" y="1"/>
                  </a:cubicBezTo>
                  <a:cubicBezTo>
                    <a:pt x="68" y="0"/>
                    <a:pt x="65" y="0"/>
                    <a:pt x="62" y="0"/>
                  </a:cubicBezTo>
                  <a:close/>
                  <a:moveTo>
                    <a:pt x="8" y="2"/>
                  </a:moveTo>
                  <a:cubicBezTo>
                    <a:pt x="5" y="2"/>
                    <a:pt x="0" y="8"/>
                    <a:pt x="2" y="10"/>
                  </a:cubicBezTo>
                  <a:cubicBezTo>
                    <a:pt x="2" y="11"/>
                    <a:pt x="4" y="12"/>
                    <a:pt x="5" y="12"/>
                  </a:cubicBezTo>
                  <a:cubicBezTo>
                    <a:pt x="7" y="11"/>
                    <a:pt x="8" y="8"/>
                    <a:pt x="10" y="6"/>
                  </a:cubicBezTo>
                  <a:cubicBezTo>
                    <a:pt x="11" y="6"/>
                    <a:pt x="11" y="3"/>
                    <a:pt x="9" y="2"/>
                  </a:cubicBezTo>
                  <a:cubicBezTo>
                    <a:pt x="9" y="2"/>
                    <a:pt x="9" y="2"/>
                    <a:pt x="8" y="2"/>
                  </a:cubicBezTo>
                  <a:close/>
                </a:path>
              </a:pathLst>
            </a:custGeom>
            <a:solidFill>
              <a:srgbClr val="0973D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202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5337652" y="487"/>
            <a:ext cx="6853483" cy="686755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1" name="Freeform: Shape 7"/>
          <p:cNvSpPr>
            <a:spLocks/>
          </p:cNvSpPr>
          <p:nvPr/>
        </p:nvSpPr>
        <p:spPr bwMode="auto">
          <a:xfrm flipH="1" flipV="1">
            <a:off x="865" y="-372"/>
            <a:ext cx="6240723" cy="6857029"/>
          </a:xfrm>
          <a:custGeom>
            <a:avLst/>
            <a:gdLst>
              <a:gd name="connsiteX0" fmla="*/ 12992763 w 12992763"/>
              <a:gd name="connsiteY0" fmla="*/ 6858002 h 6858002"/>
              <a:gd name="connsiteX1" fmla="*/ 5476196 w 12992763"/>
              <a:gd name="connsiteY1" fmla="*/ 6858002 h 6858002"/>
              <a:gd name="connsiteX2" fmla="*/ 5476195 w 12992763"/>
              <a:gd name="connsiteY2" fmla="*/ 6858002 h 6858002"/>
              <a:gd name="connsiteX3" fmla="*/ 0 w 12992763"/>
              <a:gd name="connsiteY3" fmla="*/ 6858002 h 6858002"/>
              <a:gd name="connsiteX4" fmla="*/ 1457721 w 12992763"/>
              <a:gd name="connsiteY4" fmla="*/ 0 h 6858002"/>
              <a:gd name="connsiteX5" fmla="*/ 5476195 w 12992763"/>
              <a:gd name="connsiteY5" fmla="*/ 0 h 6858002"/>
              <a:gd name="connsiteX6" fmla="*/ 5476196 w 12992763"/>
              <a:gd name="connsiteY6" fmla="*/ 0 h 6858002"/>
              <a:gd name="connsiteX7" fmla="*/ 10173934 w 12992763"/>
              <a:gd name="connsiteY7" fmla="*/ 0 h 6858002"/>
              <a:gd name="connsiteX8" fmla="*/ 10173934 w 12992763"/>
              <a:gd name="connsiteY8" fmla="*/ 6858000 h 6858002"/>
              <a:gd name="connsiteX9" fmla="*/ 12992763 w 12992763"/>
              <a:gd name="connsiteY9" fmla="*/ 6858000 h 6858002"/>
              <a:gd name="connsiteX0" fmla="*/ 12992763 w 12992763"/>
              <a:gd name="connsiteY0" fmla="*/ 6858000 h 6858002"/>
              <a:gd name="connsiteX1" fmla="*/ 5476196 w 12992763"/>
              <a:gd name="connsiteY1" fmla="*/ 6858002 h 6858002"/>
              <a:gd name="connsiteX2" fmla="*/ 5476195 w 12992763"/>
              <a:gd name="connsiteY2" fmla="*/ 6858002 h 6858002"/>
              <a:gd name="connsiteX3" fmla="*/ 0 w 12992763"/>
              <a:gd name="connsiteY3" fmla="*/ 6858002 h 6858002"/>
              <a:gd name="connsiteX4" fmla="*/ 1457721 w 12992763"/>
              <a:gd name="connsiteY4" fmla="*/ 0 h 6858002"/>
              <a:gd name="connsiteX5" fmla="*/ 5476195 w 12992763"/>
              <a:gd name="connsiteY5" fmla="*/ 0 h 6858002"/>
              <a:gd name="connsiteX6" fmla="*/ 5476196 w 12992763"/>
              <a:gd name="connsiteY6" fmla="*/ 0 h 6858002"/>
              <a:gd name="connsiteX7" fmla="*/ 10173934 w 12992763"/>
              <a:gd name="connsiteY7" fmla="*/ 0 h 6858002"/>
              <a:gd name="connsiteX8" fmla="*/ 10173934 w 12992763"/>
              <a:gd name="connsiteY8" fmla="*/ 6858000 h 6858002"/>
              <a:gd name="connsiteX9" fmla="*/ 12992763 w 12992763"/>
              <a:gd name="connsiteY9" fmla="*/ 6858000 h 6858002"/>
              <a:gd name="connsiteX0" fmla="*/ 10173934 w 10173934"/>
              <a:gd name="connsiteY0" fmla="*/ 6858000 h 6858002"/>
              <a:gd name="connsiteX1" fmla="*/ 5476196 w 10173934"/>
              <a:gd name="connsiteY1" fmla="*/ 6858002 h 6858002"/>
              <a:gd name="connsiteX2" fmla="*/ 5476195 w 10173934"/>
              <a:gd name="connsiteY2" fmla="*/ 6858002 h 6858002"/>
              <a:gd name="connsiteX3" fmla="*/ 0 w 10173934"/>
              <a:gd name="connsiteY3" fmla="*/ 6858002 h 6858002"/>
              <a:gd name="connsiteX4" fmla="*/ 1457721 w 10173934"/>
              <a:gd name="connsiteY4" fmla="*/ 0 h 6858002"/>
              <a:gd name="connsiteX5" fmla="*/ 5476195 w 10173934"/>
              <a:gd name="connsiteY5" fmla="*/ 0 h 6858002"/>
              <a:gd name="connsiteX6" fmla="*/ 5476196 w 10173934"/>
              <a:gd name="connsiteY6" fmla="*/ 0 h 6858002"/>
              <a:gd name="connsiteX7" fmla="*/ 10173934 w 10173934"/>
              <a:gd name="connsiteY7" fmla="*/ 0 h 6858002"/>
              <a:gd name="connsiteX8" fmla="*/ 10173934 w 10173934"/>
              <a:gd name="connsiteY8" fmla="*/ 6858000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173934" h="6858002">
                <a:moveTo>
                  <a:pt x="10173934" y="6858000"/>
                </a:moveTo>
                <a:lnTo>
                  <a:pt x="5476196" y="6858002"/>
                </a:lnTo>
                <a:lnTo>
                  <a:pt x="5476195" y="6858002"/>
                </a:lnTo>
                <a:lnTo>
                  <a:pt x="0" y="6858002"/>
                </a:lnTo>
                <a:lnTo>
                  <a:pt x="1457721" y="0"/>
                </a:lnTo>
                <a:lnTo>
                  <a:pt x="5476195" y="0"/>
                </a:lnTo>
                <a:lnTo>
                  <a:pt x="5476196" y="0"/>
                </a:lnTo>
                <a:lnTo>
                  <a:pt x="10173934" y="0"/>
                </a:lnTo>
                <a:lnTo>
                  <a:pt x="10173934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14225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3" name="Rectangle 1" hidden="1"/>
          <p:cNvSpPr/>
          <p:nvPr/>
        </p:nvSpPr>
        <p:spPr bwMode="auto">
          <a:xfrm rot="16200000">
            <a:off x="2666824" y="-2665797"/>
            <a:ext cx="6856677" cy="12190215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67000"/>
                </a:srgbClr>
              </a:gs>
              <a:gs pos="100000">
                <a:srgbClr val="FFFFFF">
                  <a:alpha val="92000"/>
                </a:srgbClr>
              </a:gs>
              <a:gs pos="1000">
                <a:schemeClr val="bg1">
                  <a:alpha val="37000"/>
                </a:scheme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89526" tIns="44762" rIns="89526" bIns="179161" numCol="1" rtlCol="0" anchor="b" anchorCtr="0" compatLnSpc="1">
            <a:prstTxWarp prst="textNoShape">
              <a:avLst/>
            </a:prstTxWarp>
          </a:bodyPr>
          <a:lstStyle/>
          <a:p>
            <a:pPr algn="ctr" defTabSz="89473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252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104" y="335048"/>
            <a:ext cx="4651409" cy="892299"/>
          </a:xfrm>
        </p:spPr>
        <p:txBody>
          <a:bodyPr>
            <a:noAutofit/>
          </a:bodyPr>
          <a:lstStyle/>
          <a:p>
            <a:r>
              <a:rPr lang="en-US" sz="4700" dirty="0">
                <a:solidFill>
                  <a:schemeClr val="tx1"/>
                </a:solidFill>
              </a:rPr>
              <a:t>Microsoft </a:t>
            </a:r>
            <a:br>
              <a:rPr lang="en-US" sz="4700" dirty="0">
                <a:solidFill>
                  <a:schemeClr val="tx1"/>
                </a:solidFill>
              </a:rPr>
            </a:br>
            <a:r>
              <a:rPr lang="en-US" sz="4700" dirty="0">
                <a:solidFill>
                  <a:schemeClr val="tx1"/>
                </a:solidFill>
              </a:rPr>
              <a:t>is delivering </a:t>
            </a:r>
            <a:br>
              <a:rPr lang="en-US" sz="4700" dirty="0">
                <a:solidFill>
                  <a:schemeClr val="tx1"/>
                </a:solidFill>
              </a:rPr>
            </a:br>
            <a:r>
              <a:rPr lang="en-US" sz="4700" dirty="0">
                <a:solidFill>
                  <a:schemeClr val="tx1"/>
                </a:solidFill>
              </a:rPr>
              <a:t>on choice</a:t>
            </a:r>
          </a:p>
        </p:txBody>
      </p:sp>
      <p:sp>
        <p:nvSpPr>
          <p:cNvPr id="37" name="Freeform 139">
            <a:hlinkClick r:id="rId3"/>
          </p:cNvPr>
          <p:cNvSpPr/>
          <p:nvPr/>
        </p:nvSpPr>
        <p:spPr>
          <a:xfrm>
            <a:off x="7035563" y="1667839"/>
            <a:ext cx="674157" cy="484068"/>
          </a:xfrm>
          <a:custGeom>
            <a:avLst/>
            <a:gdLst>
              <a:gd name="connsiteX0" fmla="*/ 3620186 w 5996789"/>
              <a:gd name="connsiteY0" fmla="*/ 3312946 h 4305921"/>
              <a:gd name="connsiteX1" fmla="*/ 3776214 w 5996789"/>
              <a:gd name="connsiteY1" fmla="*/ 3646776 h 4305921"/>
              <a:gd name="connsiteX2" fmla="*/ 3756257 w 5996789"/>
              <a:gd name="connsiteY2" fmla="*/ 3915289 h 4305921"/>
              <a:gd name="connsiteX3" fmla="*/ 3816129 w 5996789"/>
              <a:gd name="connsiteY3" fmla="*/ 4107603 h 4305921"/>
              <a:gd name="connsiteX4" fmla="*/ 3482300 w 5996789"/>
              <a:gd name="connsiteY4" fmla="*/ 4180175 h 4305921"/>
              <a:gd name="connsiteX5" fmla="*/ 3148472 w 5996789"/>
              <a:gd name="connsiteY5" fmla="*/ 4111232 h 4305921"/>
              <a:gd name="connsiteX6" fmla="*/ 3620186 w 5996789"/>
              <a:gd name="connsiteY6" fmla="*/ 3312946 h 4305921"/>
              <a:gd name="connsiteX7" fmla="*/ 365356 w 5996789"/>
              <a:gd name="connsiteY7" fmla="*/ 2979119 h 4305921"/>
              <a:gd name="connsiteX8" fmla="*/ 706442 w 5996789"/>
              <a:gd name="connsiteY8" fmla="*/ 3683062 h 4305921"/>
              <a:gd name="connsiteX9" fmla="*/ 525013 w 5996789"/>
              <a:gd name="connsiteY9" fmla="*/ 3830018 h 4305921"/>
              <a:gd name="connsiteX10" fmla="*/ 87771 w 5996789"/>
              <a:gd name="connsiteY10" fmla="*/ 3390962 h 4305921"/>
              <a:gd name="connsiteX11" fmla="*/ 365356 w 5996789"/>
              <a:gd name="connsiteY11" fmla="*/ 2979119 h 4305921"/>
              <a:gd name="connsiteX12" fmla="*/ 4139073 w 5996789"/>
              <a:gd name="connsiteY12" fmla="*/ 1036923 h 4305921"/>
              <a:gd name="connsiteX13" fmla="*/ 3651029 w 5996789"/>
              <a:gd name="connsiteY13" fmla="*/ 1406131 h 4305921"/>
              <a:gd name="connsiteX14" fmla="*/ 3748999 w 5996789"/>
              <a:gd name="connsiteY14" fmla="*/ 1323583 h 4305921"/>
              <a:gd name="connsiteX15" fmla="*/ 3907276 w 5996789"/>
              <a:gd name="connsiteY15" fmla="*/ 1465171 h 4305921"/>
              <a:gd name="connsiteX16" fmla="*/ 3805244 w 5996789"/>
              <a:gd name="connsiteY16" fmla="*/ 1620218 h 4305921"/>
              <a:gd name="connsiteX17" fmla="*/ 4338644 w 5996789"/>
              <a:gd name="connsiteY17" fmla="*/ 1230145 h 4305921"/>
              <a:gd name="connsiteX18" fmla="*/ 4198682 w 5996789"/>
              <a:gd name="connsiteY18" fmla="*/ 1265252 h 4305921"/>
              <a:gd name="connsiteX19" fmla="*/ 4057883 w 5996789"/>
              <a:gd name="connsiteY19" fmla="*/ 1094980 h 4305921"/>
              <a:gd name="connsiteX20" fmla="*/ 4139073 w 5996789"/>
              <a:gd name="connsiteY20" fmla="*/ 1036923 h 4305921"/>
              <a:gd name="connsiteX21" fmla="*/ 3598662 w 5996789"/>
              <a:gd name="connsiteY21" fmla="*/ 703111 h 4305921"/>
              <a:gd name="connsiteX22" fmla="*/ 3426057 w 5996789"/>
              <a:gd name="connsiteY22" fmla="*/ 1114030 h 4305921"/>
              <a:gd name="connsiteX23" fmla="*/ 3810686 w 5996789"/>
              <a:gd name="connsiteY23" fmla="*/ 729401 h 4305921"/>
              <a:gd name="connsiteX24" fmla="*/ 3645133 w 5996789"/>
              <a:gd name="connsiteY24" fmla="*/ 703859 h 4305921"/>
              <a:gd name="connsiteX25" fmla="*/ 3598662 w 5996789"/>
              <a:gd name="connsiteY25" fmla="*/ 703111 h 4305921"/>
              <a:gd name="connsiteX26" fmla="*/ 5685617 w 5996789"/>
              <a:gd name="connsiteY26" fmla="*/ 254049 h 4305921"/>
              <a:gd name="connsiteX27" fmla="*/ 5497832 w 5996789"/>
              <a:gd name="connsiteY27" fmla="*/ 442881 h 4305921"/>
              <a:gd name="connsiteX28" fmla="*/ 5271218 w 5996789"/>
              <a:gd name="connsiteY28" fmla="*/ 577718 h 4305921"/>
              <a:gd name="connsiteX29" fmla="*/ 5518876 w 5996789"/>
              <a:gd name="connsiteY29" fmla="*/ 537204 h 4305921"/>
              <a:gd name="connsiteX30" fmla="*/ 5685617 w 5996789"/>
              <a:gd name="connsiteY30" fmla="*/ 254049 h 4305921"/>
              <a:gd name="connsiteX31" fmla="*/ 3607485 w 5996789"/>
              <a:gd name="connsiteY31" fmla="*/ 63 h 4305921"/>
              <a:gd name="connsiteX32" fmla="*/ 4469272 w 5996789"/>
              <a:gd name="connsiteY32" fmla="*/ 528019 h 4305921"/>
              <a:gd name="connsiteX33" fmla="*/ 4312109 w 5996789"/>
              <a:gd name="connsiteY33" fmla="*/ 576495 h 4305921"/>
              <a:gd name="connsiteX34" fmla="*/ 4311926 w 5996789"/>
              <a:gd name="connsiteY34" fmla="*/ 576976 h 4305921"/>
              <a:gd name="connsiteX35" fmla="*/ 4334277 w 5996789"/>
              <a:gd name="connsiteY35" fmla="*/ 578166 h 4305921"/>
              <a:gd name="connsiteX36" fmla="*/ 4576315 w 5996789"/>
              <a:gd name="connsiteY36" fmla="*/ 607845 h 4305921"/>
              <a:gd name="connsiteX37" fmla="*/ 4808543 w 5996789"/>
              <a:gd name="connsiteY37" fmla="*/ 903574 h 4305921"/>
              <a:gd name="connsiteX38" fmla="*/ 4579944 w 5996789"/>
              <a:gd name="connsiteY38" fmla="*/ 956188 h 4305921"/>
              <a:gd name="connsiteX39" fmla="*/ 4532643 w 5996789"/>
              <a:gd name="connsiteY39" fmla="*/ 970068 h 4305921"/>
              <a:gd name="connsiteX40" fmla="*/ 4501091 w 5996789"/>
              <a:gd name="connsiteY40" fmla="*/ 981396 h 4305921"/>
              <a:gd name="connsiteX41" fmla="*/ 4539462 w 5996789"/>
              <a:gd name="connsiteY41" fmla="*/ 981135 h 4305921"/>
              <a:gd name="connsiteX42" fmla="*/ 4677915 w 5996789"/>
              <a:gd name="connsiteY42" fmla="*/ 1045089 h 4305921"/>
              <a:gd name="connsiteX43" fmla="*/ 4608972 w 5996789"/>
              <a:gd name="connsiteY43" fmla="*/ 1202932 h 4305921"/>
              <a:gd name="connsiteX44" fmla="*/ 4848457 w 5996789"/>
              <a:gd name="connsiteY44" fmla="*/ 1204746 h 4305921"/>
              <a:gd name="connsiteX45" fmla="*/ 4821243 w 5996789"/>
              <a:gd name="connsiteY45" fmla="*/ 1417018 h 4305921"/>
              <a:gd name="connsiteX46" fmla="*/ 5077057 w 5996789"/>
              <a:gd name="connsiteY46" fmla="*/ 1368032 h 4305921"/>
              <a:gd name="connsiteX47" fmla="*/ 5011488 w 5996789"/>
              <a:gd name="connsiteY47" fmla="*/ 1756176 h 4305921"/>
              <a:gd name="connsiteX48" fmla="*/ 5005149 w 5996789"/>
              <a:gd name="connsiteY48" fmla="*/ 1768400 h 4305921"/>
              <a:gd name="connsiteX49" fmla="*/ 5035260 w 5996789"/>
              <a:gd name="connsiteY49" fmla="*/ 1744642 h 4305921"/>
              <a:gd name="connsiteX50" fmla="*/ 5207688 w 5996789"/>
              <a:gd name="connsiteY50" fmla="*/ 508059 h 4305921"/>
              <a:gd name="connsiteX51" fmla="*/ 5483459 w 5996789"/>
              <a:gd name="connsiteY51" fmla="*/ 368360 h 4305921"/>
              <a:gd name="connsiteX52" fmla="*/ 5672145 w 5996789"/>
              <a:gd name="connsiteY52" fmla="*/ 150645 h 4305921"/>
              <a:gd name="connsiteX53" fmla="*/ 5430845 w 5996789"/>
              <a:gd name="connsiteY53" fmla="*/ 2532803 h 4305921"/>
              <a:gd name="connsiteX54" fmla="*/ 3971108 w 5996789"/>
              <a:gd name="connsiteY54" fmla="*/ 2163716 h 4305921"/>
              <a:gd name="connsiteX55" fmla="*/ 3935466 w 5996789"/>
              <a:gd name="connsiteY55" fmla="*/ 2124873 h 4305921"/>
              <a:gd name="connsiteX56" fmla="*/ 3916664 w 5996789"/>
              <a:gd name="connsiteY56" fmla="*/ 2222014 h 4305921"/>
              <a:gd name="connsiteX57" fmla="*/ 4481972 w 5996789"/>
              <a:gd name="connsiteY57" fmla="*/ 2672504 h 4305921"/>
              <a:gd name="connsiteX58" fmla="*/ 4549100 w 5996789"/>
              <a:gd name="connsiteY58" fmla="*/ 2677947 h 4305921"/>
              <a:gd name="connsiteX59" fmla="*/ 4122743 w 5996789"/>
              <a:gd name="connsiteY59" fmla="*/ 3051690 h 4305921"/>
              <a:gd name="connsiteX60" fmla="*/ 3689129 w 5996789"/>
              <a:gd name="connsiteY60" fmla="*/ 2757776 h 4305921"/>
              <a:gd name="connsiteX61" fmla="*/ 3299285 w 5996789"/>
              <a:gd name="connsiteY61" fmla="*/ 2541933 h 4305921"/>
              <a:gd name="connsiteX62" fmla="*/ 3246026 w 5996789"/>
              <a:gd name="connsiteY62" fmla="*/ 2508407 h 4305921"/>
              <a:gd name="connsiteX63" fmla="*/ 3249973 w 5996789"/>
              <a:gd name="connsiteY63" fmla="*/ 2518743 h 4305921"/>
              <a:gd name="connsiteX64" fmla="*/ 3592971 w 5996789"/>
              <a:gd name="connsiteY64" fmla="*/ 2890218 h 4305921"/>
              <a:gd name="connsiteX65" fmla="*/ 3204714 w 5996789"/>
              <a:gd name="connsiteY65" fmla="*/ 3741118 h 4305921"/>
              <a:gd name="connsiteX66" fmla="*/ 2491699 w 5996789"/>
              <a:gd name="connsiteY66" fmla="*/ 4305361 h 4305921"/>
              <a:gd name="connsiteX67" fmla="*/ 2107071 w 5996789"/>
              <a:gd name="connsiteY67" fmla="*/ 3839089 h 4305921"/>
              <a:gd name="connsiteX68" fmla="*/ 2453599 w 5996789"/>
              <a:gd name="connsiteY68" fmla="*/ 3581461 h 4305921"/>
              <a:gd name="connsiteX69" fmla="*/ 2435456 w 5996789"/>
              <a:gd name="connsiteY69" fmla="*/ 3302061 h 4305921"/>
              <a:gd name="connsiteX70" fmla="*/ 1634637 w 5996789"/>
              <a:gd name="connsiteY70" fmla="*/ 3346858 h 4305921"/>
              <a:gd name="connsiteX71" fmla="*/ 1602322 w 5996789"/>
              <a:gd name="connsiteY71" fmla="*/ 3309232 h 4305921"/>
              <a:gd name="connsiteX72" fmla="*/ 1606556 w 5996789"/>
              <a:gd name="connsiteY72" fmla="*/ 3424752 h 4305921"/>
              <a:gd name="connsiteX73" fmla="*/ 1600886 w 5996789"/>
              <a:gd name="connsiteY73" fmla="*/ 3732046 h 4305921"/>
              <a:gd name="connsiteX74" fmla="*/ 1466629 w 5996789"/>
              <a:gd name="connsiteY74" fmla="*/ 4020518 h 4305921"/>
              <a:gd name="connsiteX75" fmla="*/ 1443043 w 5996789"/>
              <a:gd name="connsiteY75" fmla="*/ 4241861 h 4305921"/>
              <a:gd name="connsiteX76" fmla="*/ 748172 w 5996789"/>
              <a:gd name="connsiteY76" fmla="*/ 4107603 h 4305921"/>
              <a:gd name="connsiteX77" fmla="*/ 815300 w 5996789"/>
              <a:gd name="connsiteY77" fmla="*/ 3877189 h 4305921"/>
              <a:gd name="connsiteX78" fmla="*/ 843790 w 5996789"/>
              <a:gd name="connsiteY78" fmla="*/ 3603771 h 4305921"/>
              <a:gd name="connsiteX79" fmla="*/ 844480 w 5996789"/>
              <a:gd name="connsiteY79" fmla="*/ 3586118 h 4305921"/>
              <a:gd name="connsiteX80" fmla="*/ 824913 w 5996789"/>
              <a:gd name="connsiteY80" fmla="*/ 3548501 h 4305921"/>
              <a:gd name="connsiteX81" fmla="*/ 454256 w 5996789"/>
              <a:gd name="connsiteY81" fmla="*/ 2111888 h 4305921"/>
              <a:gd name="connsiteX82" fmla="*/ 56504 w 5996789"/>
              <a:gd name="connsiteY82" fmla="*/ 1830221 h 4305921"/>
              <a:gd name="connsiteX83" fmla="*/ 54019 w 5996789"/>
              <a:gd name="connsiteY83" fmla="*/ 1806341 h 4305921"/>
              <a:gd name="connsiteX84" fmla="*/ 37275 w 5996789"/>
              <a:gd name="connsiteY84" fmla="*/ 1798303 h 4305921"/>
              <a:gd name="connsiteX85" fmla="*/ 243799 w 5996789"/>
              <a:gd name="connsiteY85" fmla="*/ 1386174 h 4305921"/>
              <a:gd name="connsiteX86" fmla="*/ 163929 w 5996789"/>
              <a:gd name="connsiteY86" fmla="*/ 1788332 h 4305921"/>
              <a:gd name="connsiteX87" fmla="*/ 142519 w 5996789"/>
              <a:gd name="connsiteY87" fmla="*/ 1800347 h 4305921"/>
              <a:gd name="connsiteX88" fmla="*/ 215750 w 5996789"/>
              <a:gd name="connsiteY88" fmla="*/ 1866280 h 4305921"/>
              <a:gd name="connsiteX89" fmla="*/ 1833113 w 5996789"/>
              <a:gd name="connsiteY89" fmla="*/ 909016 h 4305921"/>
              <a:gd name="connsiteX90" fmla="*/ 1221699 w 5996789"/>
              <a:gd name="connsiteY90" fmla="*/ 1841560 h 4305921"/>
              <a:gd name="connsiteX91" fmla="*/ 1566414 w 5996789"/>
              <a:gd name="connsiteY91" fmla="*/ 2387660 h 4305921"/>
              <a:gd name="connsiteX92" fmla="*/ 1443596 w 5996789"/>
              <a:gd name="connsiteY92" fmla="*/ 2565531 h 4305921"/>
              <a:gd name="connsiteX93" fmla="*/ 1408805 w 5996789"/>
              <a:gd name="connsiteY93" fmla="*/ 2623667 h 4305921"/>
              <a:gd name="connsiteX94" fmla="*/ 1418054 w 5996789"/>
              <a:gd name="connsiteY94" fmla="*/ 2635650 h 4305921"/>
              <a:gd name="connsiteX95" fmla="*/ 1869399 w 5996789"/>
              <a:gd name="connsiteY95" fmla="*/ 2993632 h 4305921"/>
              <a:gd name="connsiteX96" fmla="*/ 2661931 w 5996789"/>
              <a:gd name="connsiteY96" fmla="*/ 2671568 h 4305921"/>
              <a:gd name="connsiteX97" fmla="*/ 2673961 w 5996789"/>
              <a:gd name="connsiteY97" fmla="*/ 2670522 h 4305921"/>
              <a:gd name="connsiteX98" fmla="*/ 2693882 w 5996789"/>
              <a:gd name="connsiteY98" fmla="*/ 2665877 h 4305921"/>
              <a:gd name="connsiteX99" fmla="*/ 2830675 w 5996789"/>
              <a:gd name="connsiteY99" fmla="*/ 2670514 h 4305921"/>
              <a:gd name="connsiteX100" fmla="*/ 2846154 w 5996789"/>
              <a:gd name="connsiteY100" fmla="*/ 2674100 h 4305921"/>
              <a:gd name="connsiteX101" fmla="*/ 2901383 w 5996789"/>
              <a:gd name="connsiteY101" fmla="*/ 2682721 h 4305921"/>
              <a:gd name="connsiteX102" fmla="*/ 2955302 w 5996789"/>
              <a:gd name="connsiteY102" fmla="*/ 2696508 h 4305921"/>
              <a:gd name="connsiteX103" fmla="*/ 2997886 w 5996789"/>
              <a:gd name="connsiteY103" fmla="*/ 2703485 h 4305921"/>
              <a:gd name="connsiteX104" fmla="*/ 2983232 w 5996789"/>
              <a:gd name="connsiteY104" fmla="*/ 1129662 h 4305921"/>
              <a:gd name="connsiteX105" fmla="*/ 2857209 w 5996789"/>
              <a:gd name="connsiteY105" fmla="*/ 2524708 h 4305921"/>
              <a:gd name="connsiteX106" fmla="*/ 2505517 w 5996789"/>
              <a:gd name="connsiteY106" fmla="*/ 2559877 h 4305921"/>
              <a:gd name="connsiteX107" fmla="*/ 1956905 w 5996789"/>
              <a:gd name="connsiteY107" fmla="*/ 2831462 h 4305921"/>
              <a:gd name="connsiteX108" fmla="*/ 1635078 w 5996789"/>
              <a:gd name="connsiteY108" fmla="*/ 2641939 h 4305921"/>
              <a:gd name="connsiteX109" fmla="*/ 1977978 w 5996789"/>
              <a:gd name="connsiteY109" fmla="*/ 1932693 h 4305921"/>
              <a:gd name="connsiteX110" fmla="*/ 1684901 w 5996789"/>
              <a:gd name="connsiteY110" fmla="*/ 2266800 h 4305921"/>
              <a:gd name="connsiteX111" fmla="*/ 1402431 w 5996789"/>
              <a:gd name="connsiteY111" fmla="*/ 1820068 h 4305921"/>
              <a:gd name="connsiteX112" fmla="*/ 2341394 w 5996789"/>
              <a:gd name="connsiteY112" fmla="*/ 602123 h 4305921"/>
              <a:gd name="connsiteX113" fmla="*/ 2838365 w 5996789"/>
              <a:gd name="connsiteY113" fmla="*/ 498745 h 4305921"/>
              <a:gd name="connsiteX114" fmla="*/ 2887056 w 5996789"/>
              <a:gd name="connsiteY114" fmla="*/ 485499 h 4305921"/>
              <a:gd name="connsiteX115" fmla="*/ 2875393 w 5996789"/>
              <a:gd name="connsiteY115" fmla="*/ 483824 h 4305921"/>
              <a:gd name="connsiteX116" fmla="*/ 2587857 w 5996789"/>
              <a:gd name="connsiteY116" fmla="*/ 477219 h 4305921"/>
              <a:gd name="connsiteX117" fmla="*/ 3607485 w 5996789"/>
              <a:gd name="connsiteY117" fmla="*/ 63 h 430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996789" h="4305921">
                <a:moveTo>
                  <a:pt x="3620186" y="3312946"/>
                </a:moveTo>
                <a:cubicBezTo>
                  <a:pt x="3686709" y="3387937"/>
                  <a:pt x="3753536" y="3546386"/>
                  <a:pt x="3776214" y="3646776"/>
                </a:cubicBezTo>
                <a:cubicBezTo>
                  <a:pt x="3798892" y="3747166"/>
                  <a:pt x="3740533" y="3840299"/>
                  <a:pt x="3756257" y="3915289"/>
                </a:cubicBezTo>
                <a:cubicBezTo>
                  <a:pt x="3787099" y="3983627"/>
                  <a:pt x="3836087" y="4037451"/>
                  <a:pt x="3816129" y="4107603"/>
                </a:cubicBezTo>
                <a:cubicBezTo>
                  <a:pt x="3786497" y="4209505"/>
                  <a:pt x="3593576" y="4179570"/>
                  <a:pt x="3482300" y="4180175"/>
                </a:cubicBezTo>
                <a:cubicBezTo>
                  <a:pt x="3371024" y="4180780"/>
                  <a:pt x="3120653" y="4260608"/>
                  <a:pt x="3148472" y="4111232"/>
                </a:cubicBezTo>
                <a:cubicBezTo>
                  <a:pt x="3423638" y="3906823"/>
                  <a:pt x="3528262" y="3677012"/>
                  <a:pt x="3620186" y="3312946"/>
                </a:cubicBezTo>
                <a:close/>
                <a:moveTo>
                  <a:pt x="365356" y="2979119"/>
                </a:moveTo>
                <a:cubicBezTo>
                  <a:pt x="473608" y="3331695"/>
                  <a:pt x="541947" y="3450228"/>
                  <a:pt x="706442" y="3683062"/>
                </a:cubicBezTo>
                <a:cubicBezTo>
                  <a:pt x="655037" y="3770753"/>
                  <a:pt x="643546" y="3833041"/>
                  <a:pt x="525013" y="3830018"/>
                </a:cubicBezTo>
                <a:cubicBezTo>
                  <a:pt x="381683" y="3816715"/>
                  <a:pt x="93213" y="3498609"/>
                  <a:pt x="87771" y="3390962"/>
                </a:cubicBezTo>
                <a:cubicBezTo>
                  <a:pt x="87769" y="3304481"/>
                  <a:pt x="267385" y="3091000"/>
                  <a:pt x="365356" y="2979119"/>
                </a:cubicBezTo>
                <a:close/>
                <a:moveTo>
                  <a:pt x="4139073" y="1036923"/>
                </a:moveTo>
                <a:cubicBezTo>
                  <a:pt x="3934664" y="1099819"/>
                  <a:pt x="3797380" y="1118266"/>
                  <a:pt x="3651029" y="1406131"/>
                </a:cubicBezTo>
                <a:cubicBezTo>
                  <a:pt x="3734335" y="1321918"/>
                  <a:pt x="3743481" y="1326606"/>
                  <a:pt x="3748999" y="1323583"/>
                </a:cubicBezTo>
                <a:cubicBezTo>
                  <a:pt x="3790873" y="1427021"/>
                  <a:pt x="3816418" y="1434302"/>
                  <a:pt x="3907276" y="1465171"/>
                </a:cubicBezTo>
                <a:cubicBezTo>
                  <a:pt x="3906901" y="1466512"/>
                  <a:pt x="3860126" y="1512268"/>
                  <a:pt x="3805244" y="1620218"/>
                </a:cubicBezTo>
                <a:cubicBezTo>
                  <a:pt x="3978809" y="1428509"/>
                  <a:pt x="4099763" y="1325697"/>
                  <a:pt x="4338644" y="1230145"/>
                </a:cubicBezTo>
                <a:cubicBezTo>
                  <a:pt x="4233417" y="1239897"/>
                  <a:pt x="4203027" y="1264420"/>
                  <a:pt x="4198682" y="1265252"/>
                </a:cubicBezTo>
                <a:cubicBezTo>
                  <a:pt x="4182588" y="1154672"/>
                  <a:pt x="4150175" y="1125735"/>
                  <a:pt x="4057883" y="1094980"/>
                </a:cubicBezTo>
                <a:cubicBezTo>
                  <a:pt x="4080185" y="1062019"/>
                  <a:pt x="4138315" y="1040402"/>
                  <a:pt x="4139073" y="1036923"/>
                </a:cubicBezTo>
                <a:close/>
                <a:moveTo>
                  <a:pt x="3598662" y="703111"/>
                </a:moveTo>
                <a:cubicBezTo>
                  <a:pt x="3498934" y="711015"/>
                  <a:pt x="3457807" y="794149"/>
                  <a:pt x="3426057" y="1114030"/>
                </a:cubicBezTo>
                <a:cubicBezTo>
                  <a:pt x="3521610" y="891478"/>
                  <a:pt x="3584505" y="765083"/>
                  <a:pt x="3810686" y="729401"/>
                </a:cubicBezTo>
                <a:cubicBezTo>
                  <a:pt x="3744163" y="719271"/>
                  <a:pt x="3689885" y="707781"/>
                  <a:pt x="3645133" y="703859"/>
                </a:cubicBezTo>
                <a:cubicBezTo>
                  <a:pt x="3628351" y="702389"/>
                  <a:pt x="3612908" y="701982"/>
                  <a:pt x="3598662" y="703111"/>
                </a:cubicBezTo>
                <a:close/>
                <a:moveTo>
                  <a:pt x="5685617" y="254049"/>
                </a:moveTo>
                <a:cubicBezTo>
                  <a:pt x="5662652" y="233993"/>
                  <a:pt x="5566898" y="388936"/>
                  <a:pt x="5497832" y="442881"/>
                </a:cubicBezTo>
                <a:cubicBezTo>
                  <a:pt x="5428765" y="496826"/>
                  <a:pt x="5271791" y="542948"/>
                  <a:pt x="5271218" y="577718"/>
                </a:cubicBezTo>
                <a:cubicBezTo>
                  <a:pt x="5270644" y="612489"/>
                  <a:pt x="5418513" y="621084"/>
                  <a:pt x="5518876" y="537204"/>
                </a:cubicBezTo>
                <a:cubicBezTo>
                  <a:pt x="5619239" y="453324"/>
                  <a:pt x="5718107" y="295877"/>
                  <a:pt x="5685617" y="254049"/>
                </a:cubicBezTo>
                <a:close/>
                <a:moveTo>
                  <a:pt x="3607485" y="63"/>
                </a:moveTo>
                <a:cubicBezTo>
                  <a:pt x="3892933" y="-4170"/>
                  <a:pt x="4223738" y="203867"/>
                  <a:pt x="4469272" y="528019"/>
                </a:cubicBezTo>
                <a:cubicBezTo>
                  <a:pt x="4410761" y="533462"/>
                  <a:pt x="4334901" y="545028"/>
                  <a:pt x="4312109" y="576495"/>
                </a:cubicBezTo>
                <a:lnTo>
                  <a:pt x="4311926" y="576976"/>
                </a:lnTo>
                <a:lnTo>
                  <a:pt x="4334277" y="578166"/>
                </a:lnTo>
                <a:cubicBezTo>
                  <a:pt x="4430264" y="584487"/>
                  <a:pt x="4535946" y="595145"/>
                  <a:pt x="4576315" y="607845"/>
                </a:cubicBezTo>
                <a:cubicBezTo>
                  <a:pt x="4651910" y="624778"/>
                  <a:pt x="4821848" y="835841"/>
                  <a:pt x="4808543" y="903574"/>
                </a:cubicBezTo>
                <a:cubicBezTo>
                  <a:pt x="4807938" y="965562"/>
                  <a:pt x="4688801" y="931393"/>
                  <a:pt x="4579944" y="956188"/>
                </a:cubicBezTo>
                <a:cubicBezTo>
                  <a:pt x="4566337" y="959287"/>
                  <a:pt x="4550335" y="964116"/>
                  <a:pt x="4532643" y="970068"/>
                </a:cubicBezTo>
                <a:lnTo>
                  <a:pt x="4501091" y="981396"/>
                </a:lnTo>
                <a:lnTo>
                  <a:pt x="4539462" y="981135"/>
                </a:lnTo>
                <a:cubicBezTo>
                  <a:pt x="4594798" y="976939"/>
                  <a:pt x="4622580" y="970703"/>
                  <a:pt x="4677915" y="1045089"/>
                </a:cubicBezTo>
                <a:cubicBezTo>
                  <a:pt x="4718434" y="1164831"/>
                  <a:pt x="4691825" y="1141247"/>
                  <a:pt x="4608972" y="1202932"/>
                </a:cubicBezTo>
                <a:cubicBezTo>
                  <a:pt x="4739600" y="1169066"/>
                  <a:pt x="4777701" y="1156970"/>
                  <a:pt x="4848457" y="1204746"/>
                </a:cubicBezTo>
                <a:cubicBezTo>
                  <a:pt x="4937357" y="1346260"/>
                  <a:pt x="4873857" y="1357147"/>
                  <a:pt x="4821243" y="1417018"/>
                </a:cubicBezTo>
                <a:cubicBezTo>
                  <a:pt x="4902885" y="1348075"/>
                  <a:pt x="4970015" y="1282761"/>
                  <a:pt x="5077057" y="1368032"/>
                </a:cubicBezTo>
                <a:cubicBezTo>
                  <a:pt x="5168225" y="1439243"/>
                  <a:pt x="5087943" y="1608425"/>
                  <a:pt x="5011488" y="1756176"/>
                </a:cubicBezTo>
                <a:lnTo>
                  <a:pt x="5005149" y="1768400"/>
                </a:lnTo>
                <a:lnTo>
                  <a:pt x="5035260" y="1744642"/>
                </a:lnTo>
                <a:cubicBezTo>
                  <a:pt x="5438762" y="1362546"/>
                  <a:pt x="5121509" y="633925"/>
                  <a:pt x="5207688" y="508059"/>
                </a:cubicBezTo>
                <a:cubicBezTo>
                  <a:pt x="5251230" y="440931"/>
                  <a:pt x="5321988" y="453632"/>
                  <a:pt x="5483459" y="368360"/>
                </a:cubicBezTo>
                <a:cubicBezTo>
                  <a:pt x="5536074" y="337517"/>
                  <a:pt x="5592014" y="130991"/>
                  <a:pt x="5672145" y="150645"/>
                </a:cubicBezTo>
                <a:cubicBezTo>
                  <a:pt x="6022604" y="236603"/>
                  <a:pt x="6267836" y="2016941"/>
                  <a:pt x="5430845" y="2532803"/>
                </a:cubicBezTo>
                <a:cubicBezTo>
                  <a:pt x="5125252" y="2699491"/>
                  <a:pt x="4586848" y="2791232"/>
                  <a:pt x="3971108" y="2163716"/>
                </a:cubicBezTo>
                <a:lnTo>
                  <a:pt x="3935466" y="2124873"/>
                </a:lnTo>
                <a:lnTo>
                  <a:pt x="3916664" y="2222014"/>
                </a:lnTo>
                <a:cubicBezTo>
                  <a:pt x="3847574" y="2718004"/>
                  <a:pt x="4173544" y="3189576"/>
                  <a:pt x="4481972" y="2672504"/>
                </a:cubicBezTo>
                <a:lnTo>
                  <a:pt x="4549100" y="2677947"/>
                </a:lnTo>
                <a:cubicBezTo>
                  <a:pt x="4476529" y="2891427"/>
                  <a:pt x="4329572" y="3086766"/>
                  <a:pt x="4122743" y="3051690"/>
                </a:cubicBezTo>
                <a:cubicBezTo>
                  <a:pt x="3880234" y="3020847"/>
                  <a:pt x="3777424" y="2859375"/>
                  <a:pt x="3689129" y="2757776"/>
                </a:cubicBezTo>
                <a:cubicBezTo>
                  <a:pt x="3569387" y="2729201"/>
                  <a:pt x="3433315" y="2631230"/>
                  <a:pt x="3299285" y="2541933"/>
                </a:cubicBezTo>
                <a:lnTo>
                  <a:pt x="3246026" y="2508407"/>
                </a:lnTo>
                <a:lnTo>
                  <a:pt x="3249973" y="2518743"/>
                </a:lnTo>
                <a:cubicBezTo>
                  <a:pt x="3337818" y="2713257"/>
                  <a:pt x="3488792" y="2837897"/>
                  <a:pt x="3592971" y="2890218"/>
                </a:cubicBezTo>
                <a:cubicBezTo>
                  <a:pt x="3490766" y="3257308"/>
                  <a:pt x="3264539" y="3686442"/>
                  <a:pt x="3204714" y="3741118"/>
                </a:cubicBezTo>
                <a:cubicBezTo>
                  <a:pt x="2818271" y="4094300"/>
                  <a:pt x="2606000" y="4318665"/>
                  <a:pt x="2491699" y="4305361"/>
                </a:cubicBezTo>
                <a:cubicBezTo>
                  <a:pt x="2334462" y="4291451"/>
                  <a:pt x="2088323" y="3903799"/>
                  <a:pt x="2107071" y="3839089"/>
                </a:cubicBezTo>
                <a:cubicBezTo>
                  <a:pt x="2169966" y="3684271"/>
                  <a:pt x="2401590" y="3665523"/>
                  <a:pt x="2453599" y="3581461"/>
                </a:cubicBezTo>
                <a:cubicBezTo>
                  <a:pt x="2471742" y="3448414"/>
                  <a:pt x="2437270" y="3407894"/>
                  <a:pt x="2435456" y="3302061"/>
                </a:cubicBezTo>
                <a:cubicBezTo>
                  <a:pt x="2286761" y="3631733"/>
                  <a:pt x="1843583" y="3559964"/>
                  <a:pt x="1634637" y="3346858"/>
                </a:cubicBezTo>
                <a:lnTo>
                  <a:pt x="1602322" y="3309232"/>
                </a:lnTo>
                <a:lnTo>
                  <a:pt x="1606556" y="3424752"/>
                </a:lnTo>
                <a:cubicBezTo>
                  <a:pt x="1610109" y="3534138"/>
                  <a:pt x="1611167" y="3639216"/>
                  <a:pt x="1600886" y="3732046"/>
                </a:cubicBezTo>
                <a:cubicBezTo>
                  <a:pt x="1585163" y="3848765"/>
                  <a:pt x="1478724" y="3938270"/>
                  <a:pt x="1466629" y="4020518"/>
                </a:cubicBezTo>
                <a:cubicBezTo>
                  <a:pt x="1458767" y="4094299"/>
                  <a:pt x="1470863" y="4197109"/>
                  <a:pt x="1443043" y="4241861"/>
                </a:cubicBezTo>
                <a:cubicBezTo>
                  <a:pt x="1347491" y="4371280"/>
                  <a:pt x="754824" y="4208599"/>
                  <a:pt x="748172" y="4107603"/>
                </a:cubicBezTo>
                <a:cubicBezTo>
                  <a:pt x="737891" y="3945527"/>
                  <a:pt x="792924" y="3953994"/>
                  <a:pt x="815300" y="3877189"/>
                </a:cubicBezTo>
                <a:cubicBezTo>
                  <a:pt x="823011" y="3779671"/>
                  <a:pt x="837866" y="3707668"/>
                  <a:pt x="843790" y="3603771"/>
                </a:cubicBezTo>
                <a:lnTo>
                  <a:pt x="844480" y="3586118"/>
                </a:lnTo>
                <a:lnTo>
                  <a:pt x="824913" y="3548501"/>
                </a:lnTo>
                <a:cubicBezTo>
                  <a:pt x="628087" y="3208189"/>
                  <a:pt x="316142" y="2844784"/>
                  <a:pt x="454256" y="2111888"/>
                </a:cubicBezTo>
                <a:cubicBezTo>
                  <a:pt x="133129" y="2189449"/>
                  <a:pt x="77340" y="2000650"/>
                  <a:pt x="56504" y="1830221"/>
                </a:cubicBezTo>
                <a:lnTo>
                  <a:pt x="54019" y="1806341"/>
                </a:lnTo>
                <a:lnTo>
                  <a:pt x="37275" y="1798303"/>
                </a:lnTo>
                <a:cubicBezTo>
                  <a:pt x="-57562" y="1715448"/>
                  <a:pt x="34778" y="1477191"/>
                  <a:pt x="243799" y="1386174"/>
                </a:cubicBezTo>
                <a:cubicBezTo>
                  <a:pt x="140083" y="1575616"/>
                  <a:pt x="293344" y="1701161"/>
                  <a:pt x="163929" y="1788332"/>
                </a:cubicBezTo>
                <a:lnTo>
                  <a:pt x="142519" y="1800347"/>
                </a:lnTo>
                <a:lnTo>
                  <a:pt x="215750" y="1866280"/>
                </a:lnTo>
                <a:cubicBezTo>
                  <a:pt x="566884" y="2113467"/>
                  <a:pt x="563114" y="1091049"/>
                  <a:pt x="1833113" y="909016"/>
                </a:cubicBezTo>
                <a:cubicBezTo>
                  <a:pt x="1355351" y="1394035"/>
                  <a:pt x="1316647" y="1570626"/>
                  <a:pt x="1221699" y="1841560"/>
                </a:cubicBezTo>
                <a:cubicBezTo>
                  <a:pt x="1280360" y="2103421"/>
                  <a:pt x="1487795" y="2176598"/>
                  <a:pt x="1566414" y="2387660"/>
                </a:cubicBezTo>
                <a:cubicBezTo>
                  <a:pt x="1521435" y="2448439"/>
                  <a:pt x="1480765" y="2507630"/>
                  <a:pt x="1443596" y="2565531"/>
                </a:cubicBezTo>
                <a:lnTo>
                  <a:pt x="1408805" y="2623667"/>
                </a:lnTo>
                <a:lnTo>
                  <a:pt x="1418054" y="2635650"/>
                </a:lnTo>
                <a:cubicBezTo>
                  <a:pt x="1537943" y="2781370"/>
                  <a:pt x="1741869" y="2968762"/>
                  <a:pt x="1869399" y="2993632"/>
                </a:cubicBezTo>
                <a:cubicBezTo>
                  <a:pt x="2297118" y="2948274"/>
                  <a:pt x="2395202" y="2713098"/>
                  <a:pt x="2661931" y="2671568"/>
                </a:cubicBezTo>
                <a:lnTo>
                  <a:pt x="2673961" y="2670522"/>
                </a:lnTo>
                <a:lnTo>
                  <a:pt x="2693882" y="2665877"/>
                </a:lnTo>
                <a:cubicBezTo>
                  <a:pt x="2744901" y="2657855"/>
                  <a:pt x="2788873" y="2662271"/>
                  <a:pt x="2830675" y="2670514"/>
                </a:cubicBezTo>
                <a:lnTo>
                  <a:pt x="2846154" y="2674100"/>
                </a:lnTo>
                <a:lnTo>
                  <a:pt x="2901383" y="2682721"/>
                </a:lnTo>
                <a:lnTo>
                  <a:pt x="2955302" y="2696508"/>
                </a:lnTo>
                <a:lnTo>
                  <a:pt x="2997886" y="2703485"/>
                </a:lnTo>
                <a:cubicBezTo>
                  <a:pt x="3265144" y="1718049"/>
                  <a:pt x="2888331" y="1717770"/>
                  <a:pt x="2983232" y="1129662"/>
                </a:cubicBezTo>
                <a:cubicBezTo>
                  <a:pt x="2716253" y="1857748"/>
                  <a:pt x="3104232" y="1854679"/>
                  <a:pt x="2857209" y="2524708"/>
                </a:cubicBezTo>
                <a:cubicBezTo>
                  <a:pt x="2739978" y="2536431"/>
                  <a:pt x="2686248" y="2484654"/>
                  <a:pt x="2505517" y="2559877"/>
                </a:cubicBezTo>
                <a:cubicBezTo>
                  <a:pt x="2322646" y="2650405"/>
                  <a:pt x="2147033" y="2806248"/>
                  <a:pt x="1956905" y="2831462"/>
                </a:cubicBezTo>
                <a:cubicBezTo>
                  <a:pt x="1778872" y="2833603"/>
                  <a:pt x="1720583" y="2766799"/>
                  <a:pt x="1635078" y="2641939"/>
                </a:cubicBezTo>
                <a:lnTo>
                  <a:pt x="1977978" y="1932693"/>
                </a:lnTo>
                <a:lnTo>
                  <a:pt x="1684901" y="2266800"/>
                </a:lnTo>
                <a:cubicBezTo>
                  <a:pt x="1501240" y="1883847"/>
                  <a:pt x="1485607" y="2037501"/>
                  <a:pt x="1402431" y="1820068"/>
                </a:cubicBezTo>
                <a:cubicBezTo>
                  <a:pt x="1434809" y="1410458"/>
                  <a:pt x="2220116" y="686976"/>
                  <a:pt x="2341394" y="602123"/>
                </a:cubicBezTo>
                <a:cubicBezTo>
                  <a:pt x="2399399" y="551690"/>
                  <a:pt x="2579641" y="560985"/>
                  <a:pt x="2838365" y="498745"/>
                </a:cubicBezTo>
                <a:lnTo>
                  <a:pt x="2887056" y="485499"/>
                </a:lnTo>
                <a:lnTo>
                  <a:pt x="2875393" y="483824"/>
                </a:lnTo>
                <a:cubicBezTo>
                  <a:pt x="2805647" y="476425"/>
                  <a:pt x="2712740" y="475858"/>
                  <a:pt x="2587857" y="477219"/>
                </a:cubicBezTo>
                <a:cubicBezTo>
                  <a:pt x="2832181" y="98638"/>
                  <a:pt x="3263375" y="10344"/>
                  <a:pt x="3607485" y="63"/>
                </a:cubicBezTo>
                <a:close/>
              </a:path>
            </a:pathLst>
          </a:cu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kern="0" dirty="0">
              <a:solidFill>
                <a:srgbClr val="A8000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135146" y="690082"/>
            <a:ext cx="3052053" cy="58782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9517" lvl="1" defTabSz="914225">
              <a:spcAft>
                <a:spcPts val="5399"/>
              </a:spcAft>
            </a:pPr>
            <a:r>
              <a:rPr lang="en-US" b="1" dirty="0">
                <a:solidFill>
                  <a:prstClr val="white"/>
                </a:solidFill>
              </a:rPr>
              <a:t>SQL Server on Linux</a:t>
            </a:r>
          </a:p>
          <a:p>
            <a:pPr marL="109517" lvl="1" defTabSz="914225">
              <a:spcAft>
                <a:spcPts val="5399"/>
              </a:spcAft>
            </a:pPr>
            <a:r>
              <a:rPr lang="en-US" b="1" dirty="0">
                <a:solidFill>
                  <a:prstClr val="white"/>
                </a:solidFill>
              </a:rPr>
              <a:t>HDInsight on Linux</a:t>
            </a:r>
          </a:p>
          <a:p>
            <a:pPr marL="109517" lvl="1" defTabSz="914225">
              <a:spcAft>
                <a:spcPts val="5399"/>
              </a:spcAft>
            </a:pPr>
            <a:r>
              <a:rPr lang="en-US" b="1" dirty="0">
                <a:solidFill>
                  <a:prstClr val="white"/>
                </a:solidFill>
              </a:rPr>
              <a:t>R Server on Linux</a:t>
            </a:r>
          </a:p>
          <a:p>
            <a:pPr marL="109517" lvl="1" defTabSz="914225">
              <a:spcAft>
                <a:spcPts val="5399"/>
              </a:spcAft>
            </a:pPr>
            <a:r>
              <a:rPr lang="en-US" b="1" dirty="0">
                <a:solidFill>
                  <a:prstClr val="white"/>
                </a:solidFill>
              </a:rPr>
              <a:t>Linux in Azure</a:t>
            </a:r>
          </a:p>
          <a:p>
            <a:pPr marL="109517" lvl="1" defTabSz="914225">
              <a:spcAft>
                <a:spcPts val="5399"/>
              </a:spcAft>
            </a:pPr>
            <a:r>
              <a:rPr lang="en-US" b="1" dirty="0">
                <a:solidFill>
                  <a:prstClr val="white"/>
                </a:solidFill>
              </a:rPr>
              <a:t>SQL Server drivers </a:t>
            </a:r>
            <a:br>
              <a:rPr lang="en-US" b="1" dirty="0">
                <a:solidFill>
                  <a:prstClr val="white"/>
                </a:solidFill>
              </a:rPr>
            </a:br>
            <a:r>
              <a:rPr lang="en-US" b="1" dirty="0">
                <a:solidFill>
                  <a:prstClr val="white"/>
                </a:solidFill>
              </a:rPr>
              <a:t>and connectivity</a:t>
            </a:r>
          </a:p>
          <a:p>
            <a:pPr marL="109517" lvl="1" defTabSz="914225">
              <a:spcAft>
                <a:spcPts val="5399"/>
              </a:spcAft>
            </a:pPr>
            <a:r>
              <a:rPr lang="en-US" b="1" dirty="0">
                <a:solidFill>
                  <a:prstClr val="white"/>
                </a:solidFill>
              </a:rPr>
              <a:t>Visual Studio Code extension for SQL Server</a:t>
            </a:r>
          </a:p>
        </p:txBody>
      </p:sp>
      <p:cxnSp>
        <p:nvCxnSpPr>
          <p:cNvPr id="62" name="Straight Connector 61"/>
          <p:cNvCxnSpPr/>
          <p:nvPr/>
        </p:nvCxnSpPr>
        <p:spPr>
          <a:xfrm>
            <a:off x="7980930" y="753659"/>
            <a:ext cx="0" cy="5754186"/>
          </a:xfrm>
          <a:prstGeom prst="line">
            <a:avLst/>
          </a:prstGeom>
          <a:ln w="6350">
            <a:solidFill>
              <a:srgbClr val="0078D7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Freeform 106"/>
          <p:cNvSpPr>
            <a:spLocks noChangeAspect="1"/>
          </p:cNvSpPr>
          <p:nvPr/>
        </p:nvSpPr>
        <p:spPr bwMode="auto">
          <a:xfrm>
            <a:off x="7023720" y="3574861"/>
            <a:ext cx="697841" cy="441949"/>
          </a:xfrm>
          <a:custGeom>
            <a:avLst/>
            <a:gdLst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246680 w 878349"/>
              <a:gd name="connsiteY17" fmla="*/ 161619 h 545581"/>
              <a:gd name="connsiteX18" fmla="*/ 490507 w 878349"/>
              <a:gd name="connsiteY18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12 h 545593"/>
              <a:gd name="connsiteX1" fmla="*/ 755129 w 878349"/>
              <a:gd name="connsiteY1" fmla="*/ 264634 h 545593"/>
              <a:gd name="connsiteX2" fmla="*/ 753041 w 878349"/>
              <a:gd name="connsiteY2" fmla="*/ 285343 h 545593"/>
              <a:gd name="connsiteX3" fmla="*/ 798544 w 878349"/>
              <a:gd name="connsiteY3" fmla="*/ 294530 h 545593"/>
              <a:gd name="connsiteX4" fmla="*/ 878349 w 878349"/>
              <a:gd name="connsiteY4" fmla="*/ 414927 h 545593"/>
              <a:gd name="connsiteX5" fmla="*/ 798544 w 878349"/>
              <a:gd name="connsiteY5" fmla="*/ 535325 h 545593"/>
              <a:gd name="connsiteX6" fmla="*/ 759827 w 878349"/>
              <a:gd name="connsiteY6" fmla="*/ 543141 h 545593"/>
              <a:gd name="connsiteX7" fmla="*/ 753908 w 878349"/>
              <a:gd name="connsiteY7" fmla="*/ 545593 h 545593"/>
              <a:gd name="connsiteX8" fmla="*/ 747683 w 878349"/>
              <a:gd name="connsiteY8" fmla="*/ 545593 h 545593"/>
              <a:gd name="connsiteX9" fmla="*/ 190471 w 878349"/>
              <a:gd name="connsiteY9" fmla="*/ 545593 h 545593"/>
              <a:gd name="connsiteX10" fmla="*/ 166602 w 878349"/>
              <a:gd name="connsiteY10" fmla="*/ 545593 h 545593"/>
              <a:gd name="connsiteX11" fmla="*/ 158924 w 878349"/>
              <a:gd name="connsiteY11" fmla="*/ 542413 h 545593"/>
              <a:gd name="connsiteX12" fmla="*/ 152084 w 878349"/>
              <a:gd name="connsiteY12" fmla="*/ 541724 h 545593"/>
              <a:gd name="connsiteX13" fmla="*/ 0 w 878349"/>
              <a:gd name="connsiteY13" fmla="*/ 355122 h 545593"/>
              <a:gd name="connsiteX14" fmla="*/ 190471 w 878349"/>
              <a:gd name="connsiteY14" fmla="*/ 164651 h 545593"/>
              <a:gd name="connsiteX15" fmla="*/ 228858 w 878349"/>
              <a:gd name="connsiteY15" fmla="*/ 168521 h 545593"/>
              <a:gd name="connsiteX16" fmla="*/ 244320 w 878349"/>
              <a:gd name="connsiteY16" fmla="*/ 173321 h 545593"/>
              <a:gd name="connsiteX17" fmla="*/ 490507 w 878349"/>
              <a:gd name="connsiteY17" fmla="*/ 12 h 545593"/>
              <a:gd name="connsiteX0" fmla="*/ 490507 w 878349"/>
              <a:gd name="connsiteY0" fmla="*/ 13 h 545594"/>
              <a:gd name="connsiteX1" fmla="*/ 755129 w 878349"/>
              <a:gd name="connsiteY1" fmla="*/ 264635 h 545594"/>
              <a:gd name="connsiteX2" fmla="*/ 753041 w 878349"/>
              <a:gd name="connsiteY2" fmla="*/ 285344 h 545594"/>
              <a:gd name="connsiteX3" fmla="*/ 798544 w 878349"/>
              <a:gd name="connsiteY3" fmla="*/ 294531 h 545594"/>
              <a:gd name="connsiteX4" fmla="*/ 878349 w 878349"/>
              <a:gd name="connsiteY4" fmla="*/ 414928 h 545594"/>
              <a:gd name="connsiteX5" fmla="*/ 798544 w 878349"/>
              <a:gd name="connsiteY5" fmla="*/ 535326 h 545594"/>
              <a:gd name="connsiteX6" fmla="*/ 759827 w 878349"/>
              <a:gd name="connsiteY6" fmla="*/ 543142 h 545594"/>
              <a:gd name="connsiteX7" fmla="*/ 753908 w 878349"/>
              <a:gd name="connsiteY7" fmla="*/ 545594 h 545594"/>
              <a:gd name="connsiteX8" fmla="*/ 747683 w 878349"/>
              <a:gd name="connsiteY8" fmla="*/ 545594 h 545594"/>
              <a:gd name="connsiteX9" fmla="*/ 190471 w 878349"/>
              <a:gd name="connsiteY9" fmla="*/ 545594 h 545594"/>
              <a:gd name="connsiteX10" fmla="*/ 166602 w 878349"/>
              <a:gd name="connsiteY10" fmla="*/ 545594 h 545594"/>
              <a:gd name="connsiteX11" fmla="*/ 158924 w 878349"/>
              <a:gd name="connsiteY11" fmla="*/ 542414 h 545594"/>
              <a:gd name="connsiteX12" fmla="*/ 152084 w 878349"/>
              <a:gd name="connsiteY12" fmla="*/ 541725 h 545594"/>
              <a:gd name="connsiteX13" fmla="*/ 0 w 878349"/>
              <a:gd name="connsiteY13" fmla="*/ 355123 h 545594"/>
              <a:gd name="connsiteX14" fmla="*/ 190471 w 878349"/>
              <a:gd name="connsiteY14" fmla="*/ 164652 h 545594"/>
              <a:gd name="connsiteX15" fmla="*/ 228858 w 878349"/>
              <a:gd name="connsiteY15" fmla="*/ 168522 h 545594"/>
              <a:gd name="connsiteX16" fmla="*/ 244320 w 878349"/>
              <a:gd name="connsiteY16" fmla="*/ 173322 h 545594"/>
              <a:gd name="connsiteX17" fmla="*/ 490507 w 878349"/>
              <a:gd name="connsiteY17" fmla="*/ 13 h 545594"/>
              <a:gd name="connsiteX0" fmla="*/ 490507 w 878349"/>
              <a:gd name="connsiteY0" fmla="*/ 471 h 546052"/>
              <a:gd name="connsiteX1" fmla="*/ 755129 w 878349"/>
              <a:gd name="connsiteY1" fmla="*/ 265093 h 546052"/>
              <a:gd name="connsiteX2" fmla="*/ 753041 w 878349"/>
              <a:gd name="connsiteY2" fmla="*/ 285802 h 546052"/>
              <a:gd name="connsiteX3" fmla="*/ 798544 w 878349"/>
              <a:gd name="connsiteY3" fmla="*/ 294989 h 546052"/>
              <a:gd name="connsiteX4" fmla="*/ 878349 w 878349"/>
              <a:gd name="connsiteY4" fmla="*/ 415386 h 546052"/>
              <a:gd name="connsiteX5" fmla="*/ 798544 w 878349"/>
              <a:gd name="connsiteY5" fmla="*/ 535784 h 546052"/>
              <a:gd name="connsiteX6" fmla="*/ 759827 w 878349"/>
              <a:gd name="connsiteY6" fmla="*/ 543600 h 546052"/>
              <a:gd name="connsiteX7" fmla="*/ 753908 w 878349"/>
              <a:gd name="connsiteY7" fmla="*/ 546052 h 546052"/>
              <a:gd name="connsiteX8" fmla="*/ 747683 w 878349"/>
              <a:gd name="connsiteY8" fmla="*/ 546052 h 546052"/>
              <a:gd name="connsiteX9" fmla="*/ 190471 w 878349"/>
              <a:gd name="connsiteY9" fmla="*/ 546052 h 546052"/>
              <a:gd name="connsiteX10" fmla="*/ 166602 w 878349"/>
              <a:gd name="connsiteY10" fmla="*/ 546052 h 546052"/>
              <a:gd name="connsiteX11" fmla="*/ 158924 w 878349"/>
              <a:gd name="connsiteY11" fmla="*/ 542872 h 546052"/>
              <a:gd name="connsiteX12" fmla="*/ 152084 w 878349"/>
              <a:gd name="connsiteY12" fmla="*/ 542183 h 546052"/>
              <a:gd name="connsiteX13" fmla="*/ 0 w 878349"/>
              <a:gd name="connsiteY13" fmla="*/ 355581 h 546052"/>
              <a:gd name="connsiteX14" fmla="*/ 190471 w 878349"/>
              <a:gd name="connsiteY14" fmla="*/ 165110 h 546052"/>
              <a:gd name="connsiteX15" fmla="*/ 228858 w 878349"/>
              <a:gd name="connsiteY15" fmla="*/ 168980 h 546052"/>
              <a:gd name="connsiteX16" fmla="*/ 244320 w 878349"/>
              <a:gd name="connsiteY16" fmla="*/ 173780 h 546052"/>
              <a:gd name="connsiteX17" fmla="*/ 490507 w 878349"/>
              <a:gd name="connsiteY17" fmla="*/ 471 h 546052"/>
              <a:gd name="connsiteX0" fmla="*/ 490507 w 878349"/>
              <a:gd name="connsiteY0" fmla="*/ 2380 h 547961"/>
              <a:gd name="connsiteX1" fmla="*/ 753041 w 878349"/>
              <a:gd name="connsiteY1" fmla="*/ 287711 h 547961"/>
              <a:gd name="connsiteX2" fmla="*/ 798544 w 878349"/>
              <a:gd name="connsiteY2" fmla="*/ 296898 h 547961"/>
              <a:gd name="connsiteX3" fmla="*/ 878349 w 878349"/>
              <a:gd name="connsiteY3" fmla="*/ 417295 h 547961"/>
              <a:gd name="connsiteX4" fmla="*/ 798544 w 878349"/>
              <a:gd name="connsiteY4" fmla="*/ 537693 h 547961"/>
              <a:gd name="connsiteX5" fmla="*/ 759827 w 878349"/>
              <a:gd name="connsiteY5" fmla="*/ 545509 h 547961"/>
              <a:gd name="connsiteX6" fmla="*/ 753908 w 878349"/>
              <a:gd name="connsiteY6" fmla="*/ 547961 h 547961"/>
              <a:gd name="connsiteX7" fmla="*/ 747683 w 878349"/>
              <a:gd name="connsiteY7" fmla="*/ 547961 h 547961"/>
              <a:gd name="connsiteX8" fmla="*/ 190471 w 878349"/>
              <a:gd name="connsiteY8" fmla="*/ 547961 h 547961"/>
              <a:gd name="connsiteX9" fmla="*/ 166602 w 878349"/>
              <a:gd name="connsiteY9" fmla="*/ 547961 h 547961"/>
              <a:gd name="connsiteX10" fmla="*/ 158924 w 878349"/>
              <a:gd name="connsiteY10" fmla="*/ 544781 h 547961"/>
              <a:gd name="connsiteX11" fmla="*/ 152084 w 878349"/>
              <a:gd name="connsiteY11" fmla="*/ 544092 h 547961"/>
              <a:gd name="connsiteX12" fmla="*/ 0 w 878349"/>
              <a:gd name="connsiteY12" fmla="*/ 357490 h 547961"/>
              <a:gd name="connsiteX13" fmla="*/ 190471 w 878349"/>
              <a:gd name="connsiteY13" fmla="*/ 167019 h 547961"/>
              <a:gd name="connsiteX14" fmla="*/ 228858 w 878349"/>
              <a:gd name="connsiteY14" fmla="*/ 170889 h 547961"/>
              <a:gd name="connsiteX15" fmla="*/ 244320 w 878349"/>
              <a:gd name="connsiteY15" fmla="*/ 175689 h 547961"/>
              <a:gd name="connsiteX16" fmla="*/ 490507 w 878349"/>
              <a:gd name="connsiteY16" fmla="*/ 2380 h 547961"/>
              <a:gd name="connsiteX0" fmla="*/ 490507 w 878349"/>
              <a:gd name="connsiteY0" fmla="*/ 30 h 545611"/>
              <a:gd name="connsiteX1" fmla="*/ 753041 w 878349"/>
              <a:gd name="connsiteY1" fmla="*/ 285361 h 545611"/>
              <a:gd name="connsiteX2" fmla="*/ 798544 w 878349"/>
              <a:gd name="connsiteY2" fmla="*/ 294548 h 545611"/>
              <a:gd name="connsiteX3" fmla="*/ 878349 w 878349"/>
              <a:gd name="connsiteY3" fmla="*/ 414945 h 545611"/>
              <a:gd name="connsiteX4" fmla="*/ 798544 w 878349"/>
              <a:gd name="connsiteY4" fmla="*/ 535343 h 545611"/>
              <a:gd name="connsiteX5" fmla="*/ 759827 w 878349"/>
              <a:gd name="connsiteY5" fmla="*/ 543159 h 545611"/>
              <a:gd name="connsiteX6" fmla="*/ 753908 w 878349"/>
              <a:gd name="connsiteY6" fmla="*/ 545611 h 545611"/>
              <a:gd name="connsiteX7" fmla="*/ 747683 w 878349"/>
              <a:gd name="connsiteY7" fmla="*/ 545611 h 545611"/>
              <a:gd name="connsiteX8" fmla="*/ 190471 w 878349"/>
              <a:gd name="connsiteY8" fmla="*/ 545611 h 545611"/>
              <a:gd name="connsiteX9" fmla="*/ 166602 w 878349"/>
              <a:gd name="connsiteY9" fmla="*/ 545611 h 545611"/>
              <a:gd name="connsiteX10" fmla="*/ 158924 w 878349"/>
              <a:gd name="connsiteY10" fmla="*/ 542431 h 545611"/>
              <a:gd name="connsiteX11" fmla="*/ 152084 w 878349"/>
              <a:gd name="connsiteY11" fmla="*/ 541742 h 545611"/>
              <a:gd name="connsiteX12" fmla="*/ 0 w 878349"/>
              <a:gd name="connsiteY12" fmla="*/ 355140 h 545611"/>
              <a:gd name="connsiteX13" fmla="*/ 190471 w 878349"/>
              <a:gd name="connsiteY13" fmla="*/ 164669 h 545611"/>
              <a:gd name="connsiteX14" fmla="*/ 228858 w 878349"/>
              <a:gd name="connsiteY14" fmla="*/ 168539 h 545611"/>
              <a:gd name="connsiteX15" fmla="*/ 244320 w 878349"/>
              <a:gd name="connsiteY15" fmla="*/ 173339 h 545611"/>
              <a:gd name="connsiteX16" fmla="*/ 490507 w 878349"/>
              <a:gd name="connsiteY16" fmla="*/ 30 h 545611"/>
              <a:gd name="connsiteX0" fmla="*/ 490507 w 878349"/>
              <a:gd name="connsiteY0" fmla="*/ 30 h 545611"/>
              <a:gd name="connsiteX1" fmla="*/ 753041 w 878349"/>
              <a:gd name="connsiteY1" fmla="*/ 285361 h 545611"/>
              <a:gd name="connsiteX2" fmla="*/ 798544 w 878349"/>
              <a:gd name="connsiteY2" fmla="*/ 294548 h 545611"/>
              <a:gd name="connsiteX3" fmla="*/ 878349 w 878349"/>
              <a:gd name="connsiteY3" fmla="*/ 414945 h 545611"/>
              <a:gd name="connsiteX4" fmla="*/ 798544 w 878349"/>
              <a:gd name="connsiteY4" fmla="*/ 535343 h 545611"/>
              <a:gd name="connsiteX5" fmla="*/ 759827 w 878349"/>
              <a:gd name="connsiteY5" fmla="*/ 543159 h 545611"/>
              <a:gd name="connsiteX6" fmla="*/ 753908 w 878349"/>
              <a:gd name="connsiteY6" fmla="*/ 545611 h 545611"/>
              <a:gd name="connsiteX7" fmla="*/ 747683 w 878349"/>
              <a:gd name="connsiteY7" fmla="*/ 545611 h 545611"/>
              <a:gd name="connsiteX8" fmla="*/ 190471 w 878349"/>
              <a:gd name="connsiteY8" fmla="*/ 545611 h 545611"/>
              <a:gd name="connsiteX9" fmla="*/ 166602 w 878349"/>
              <a:gd name="connsiteY9" fmla="*/ 545611 h 545611"/>
              <a:gd name="connsiteX10" fmla="*/ 158924 w 878349"/>
              <a:gd name="connsiteY10" fmla="*/ 542431 h 545611"/>
              <a:gd name="connsiteX11" fmla="*/ 152084 w 878349"/>
              <a:gd name="connsiteY11" fmla="*/ 541742 h 545611"/>
              <a:gd name="connsiteX12" fmla="*/ 0 w 878349"/>
              <a:gd name="connsiteY12" fmla="*/ 355140 h 545611"/>
              <a:gd name="connsiteX13" fmla="*/ 190471 w 878349"/>
              <a:gd name="connsiteY13" fmla="*/ 164669 h 545611"/>
              <a:gd name="connsiteX14" fmla="*/ 228858 w 878349"/>
              <a:gd name="connsiteY14" fmla="*/ 168539 h 545611"/>
              <a:gd name="connsiteX15" fmla="*/ 244320 w 878349"/>
              <a:gd name="connsiteY15" fmla="*/ 173339 h 545611"/>
              <a:gd name="connsiteX16" fmla="*/ 490507 w 878349"/>
              <a:gd name="connsiteY16" fmla="*/ 30 h 545611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526204 w 878349"/>
              <a:gd name="connsiteY0" fmla="*/ 25 h 542852"/>
              <a:gd name="connsiteX1" fmla="*/ 753041 w 878349"/>
              <a:gd name="connsiteY1" fmla="*/ 282602 h 542852"/>
              <a:gd name="connsiteX2" fmla="*/ 798544 w 878349"/>
              <a:gd name="connsiteY2" fmla="*/ 291789 h 542852"/>
              <a:gd name="connsiteX3" fmla="*/ 878349 w 878349"/>
              <a:gd name="connsiteY3" fmla="*/ 412186 h 542852"/>
              <a:gd name="connsiteX4" fmla="*/ 798544 w 878349"/>
              <a:gd name="connsiteY4" fmla="*/ 532584 h 542852"/>
              <a:gd name="connsiteX5" fmla="*/ 759827 w 878349"/>
              <a:gd name="connsiteY5" fmla="*/ 540400 h 542852"/>
              <a:gd name="connsiteX6" fmla="*/ 753908 w 878349"/>
              <a:gd name="connsiteY6" fmla="*/ 542852 h 542852"/>
              <a:gd name="connsiteX7" fmla="*/ 747683 w 878349"/>
              <a:gd name="connsiteY7" fmla="*/ 542852 h 542852"/>
              <a:gd name="connsiteX8" fmla="*/ 190471 w 878349"/>
              <a:gd name="connsiteY8" fmla="*/ 542852 h 542852"/>
              <a:gd name="connsiteX9" fmla="*/ 166602 w 878349"/>
              <a:gd name="connsiteY9" fmla="*/ 542852 h 542852"/>
              <a:gd name="connsiteX10" fmla="*/ 158924 w 878349"/>
              <a:gd name="connsiteY10" fmla="*/ 539672 h 542852"/>
              <a:gd name="connsiteX11" fmla="*/ 152084 w 878349"/>
              <a:gd name="connsiteY11" fmla="*/ 538983 h 542852"/>
              <a:gd name="connsiteX12" fmla="*/ 0 w 878349"/>
              <a:gd name="connsiteY12" fmla="*/ 352381 h 542852"/>
              <a:gd name="connsiteX13" fmla="*/ 190471 w 878349"/>
              <a:gd name="connsiteY13" fmla="*/ 161910 h 542852"/>
              <a:gd name="connsiteX14" fmla="*/ 228858 w 878349"/>
              <a:gd name="connsiteY14" fmla="*/ 165780 h 542852"/>
              <a:gd name="connsiteX15" fmla="*/ 244320 w 878349"/>
              <a:gd name="connsiteY15" fmla="*/ 170580 h 542852"/>
              <a:gd name="connsiteX16" fmla="*/ 526204 w 878349"/>
              <a:gd name="connsiteY16" fmla="*/ 25 h 542852"/>
              <a:gd name="connsiteX0" fmla="*/ 526204 w 878349"/>
              <a:gd name="connsiteY0" fmla="*/ 3284 h 546111"/>
              <a:gd name="connsiteX1" fmla="*/ 753041 w 878349"/>
              <a:gd name="connsiteY1" fmla="*/ 285861 h 546111"/>
              <a:gd name="connsiteX2" fmla="*/ 798544 w 878349"/>
              <a:gd name="connsiteY2" fmla="*/ 295048 h 546111"/>
              <a:gd name="connsiteX3" fmla="*/ 878349 w 878349"/>
              <a:gd name="connsiteY3" fmla="*/ 415445 h 546111"/>
              <a:gd name="connsiteX4" fmla="*/ 798544 w 878349"/>
              <a:gd name="connsiteY4" fmla="*/ 535843 h 546111"/>
              <a:gd name="connsiteX5" fmla="*/ 759827 w 878349"/>
              <a:gd name="connsiteY5" fmla="*/ 543659 h 546111"/>
              <a:gd name="connsiteX6" fmla="*/ 753908 w 878349"/>
              <a:gd name="connsiteY6" fmla="*/ 546111 h 546111"/>
              <a:gd name="connsiteX7" fmla="*/ 747683 w 878349"/>
              <a:gd name="connsiteY7" fmla="*/ 546111 h 546111"/>
              <a:gd name="connsiteX8" fmla="*/ 190471 w 878349"/>
              <a:gd name="connsiteY8" fmla="*/ 546111 h 546111"/>
              <a:gd name="connsiteX9" fmla="*/ 166602 w 878349"/>
              <a:gd name="connsiteY9" fmla="*/ 546111 h 546111"/>
              <a:gd name="connsiteX10" fmla="*/ 158924 w 878349"/>
              <a:gd name="connsiteY10" fmla="*/ 542931 h 546111"/>
              <a:gd name="connsiteX11" fmla="*/ 152084 w 878349"/>
              <a:gd name="connsiteY11" fmla="*/ 542242 h 546111"/>
              <a:gd name="connsiteX12" fmla="*/ 0 w 878349"/>
              <a:gd name="connsiteY12" fmla="*/ 355640 h 546111"/>
              <a:gd name="connsiteX13" fmla="*/ 190471 w 878349"/>
              <a:gd name="connsiteY13" fmla="*/ 165169 h 546111"/>
              <a:gd name="connsiteX14" fmla="*/ 228858 w 878349"/>
              <a:gd name="connsiteY14" fmla="*/ 169039 h 546111"/>
              <a:gd name="connsiteX15" fmla="*/ 244320 w 878349"/>
              <a:gd name="connsiteY15" fmla="*/ 173839 h 546111"/>
              <a:gd name="connsiteX16" fmla="*/ 526204 w 878349"/>
              <a:gd name="connsiteY16" fmla="*/ 3284 h 546111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912 h 543739"/>
              <a:gd name="connsiteX1" fmla="*/ 753041 w 878349"/>
              <a:gd name="connsiteY1" fmla="*/ 283489 h 543739"/>
              <a:gd name="connsiteX2" fmla="*/ 798544 w 878349"/>
              <a:gd name="connsiteY2" fmla="*/ 292676 h 543739"/>
              <a:gd name="connsiteX3" fmla="*/ 878349 w 878349"/>
              <a:gd name="connsiteY3" fmla="*/ 413073 h 543739"/>
              <a:gd name="connsiteX4" fmla="*/ 798544 w 878349"/>
              <a:gd name="connsiteY4" fmla="*/ 533471 h 543739"/>
              <a:gd name="connsiteX5" fmla="*/ 759827 w 878349"/>
              <a:gd name="connsiteY5" fmla="*/ 541287 h 543739"/>
              <a:gd name="connsiteX6" fmla="*/ 753908 w 878349"/>
              <a:gd name="connsiteY6" fmla="*/ 543739 h 543739"/>
              <a:gd name="connsiteX7" fmla="*/ 747683 w 878349"/>
              <a:gd name="connsiteY7" fmla="*/ 543739 h 543739"/>
              <a:gd name="connsiteX8" fmla="*/ 190471 w 878349"/>
              <a:gd name="connsiteY8" fmla="*/ 543739 h 543739"/>
              <a:gd name="connsiteX9" fmla="*/ 166602 w 878349"/>
              <a:gd name="connsiteY9" fmla="*/ 543739 h 543739"/>
              <a:gd name="connsiteX10" fmla="*/ 158924 w 878349"/>
              <a:gd name="connsiteY10" fmla="*/ 540559 h 543739"/>
              <a:gd name="connsiteX11" fmla="*/ 152084 w 878349"/>
              <a:gd name="connsiteY11" fmla="*/ 539870 h 543739"/>
              <a:gd name="connsiteX12" fmla="*/ 0 w 878349"/>
              <a:gd name="connsiteY12" fmla="*/ 353268 h 543739"/>
              <a:gd name="connsiteX13" fmla="*/ 190471 w 878349"/>
              <a:gd name="connsiteY13" fmla="*/ 162797 h 543739"/>
              <a:gd name="connsiteX14" fmla="*/ 228858 w 878349"/>
              <a:gd name="connsiteY14" fmla="*/ 166667 h 543739"/>
              <a:gd name="connsiteX15" fmla="*/ 244320 w 878349"/>
              <a:gd name="connsiteY15" fmla="*/ 171467 h 543739"/>
              <a:gd name="connsiteX16" fmla="*/ 526204 w 878349"/>
              <a:gd name="connsiteY16" fmla="*/ 912 h 543739"/>
              <a:gd name="connsiteX0" fmla="*/ 526204 w 878349"/>
              <a:gd name="connsiteY0" fmla="*/ 2110 h 544937"/>
              <a:gd name="connsiteX1" fmla="*/ 753041 w 878349"/>
              <a:gd name="connsiteY1" fmla="*/ 284687 h 544937"/>
              <a:gd name="connsiteX2" fmla="*/ 798544 w 878349"/>
              <a:gd name="connsiteY2" fmla="*/ 293874 h 544937"/>
              <a:gd name="connsiteX3" fmla="*/ 878349 w 878349"/>
              <a:gd name="connsiteY3" fmla="*/ 414271 h 544937"/>
              <a:gd name="connsiteX4" fmla="*/ 798544 w 878349"/>
              <a:gd name="connsiteY4" fmla="*/ 534669 h 544937"/>
              <a:gd name="connsiteX5" fmla="*/ 759827 w 878349"/>
              <a:gd name="connsiteY5" fmla="*/ 542485 h 544937"/>
              <a:gd name="connsiteX6" fmla="*/ 753908 w 878349"/>
              <a:gd name="connsiteY6" fmla="*/ 544937 h 544937"/>
              <a:gd name="connsiteX7" fmla="*/ 747683 w 878349"/>
              <a:gd name="connsiteY7" fmla="*/ 544937 h 544937"/>
              <a:gd name="connsiteX8" fmla="*/ 190471 w 878349"/>
              <a:gd name="connsiteY8" fmla="*/ 544937 h 544937"/>
              <a:gd name="connsiteX9" fmla="*/ 166602 w 878349"/>
              <a:gd name="connsiteY9" fmla="*/ 544937 h 544937"/>
              <a:gd name="connsiteX10" fmla="*/ 158924 w 878349"/>
              <a:gd name="connsiteY10" fmla="*/ 541757 h 544937"/>
              <a:gd name="connsiteX11" fmla="*/ 152084 w 878349"/>
              <a:gd name="connsiteY11" fmla="*/ 541068 h 544937"/>
              <a:gd name="connsiteX12" fmla="*/ 0 w 878349"/>
              <a:gd name="connsiteY12" fmla="*/ 354466 h 544937"/>
              <a:gd name="connsiteX13" fmla="*/ 190471 w 878349"/>
              <a:gd name="connsiteY13" fmla="*/ 163995 h 544937"/>
              <a:gd name="connsiteX14" fmla="*/ 228858 w 878349"/>
              <a:gd name="connsiteY14" fmla="*/ 167865 h 544937"/>
              <a:gd name="connsiteX15" fmla="*/ 244320 w 878349"/>
              <a:gd name="connsiteY15" fmla="*/ 172665 h 544937"/>
              <a:gd name="connsiteX16" fmla="*/ 526204 w 878349"/>
              <a:gd name="connsiteY16" fmla="*/ 2110 h 544937"/>
              <a:gd name="connsiteX0" fmla="*/ 526204 w 878349"/>
              <a:gd name="connsiteY0" fmla="*/ 2045 h 544872"/>
              <a:gd name="connsiteX1" fmla="*/ 753041 w 878349"/>
              <a:gd name="connsiteY1" fmla="*/ 284622 h 544872"/>
              <a:gd name="connsiteX2" fmla="*/ 798544 w 878349"/>
              <a:gd name="connsiteY2" fmla="*/ 293809 h 544872"/>
              <a:gd name="connsiteX3" fmla="*/ 878349 w 878349"/>
              <a:gd name="connsiteY3" fmla="*/ 414206 h 544872"/>
              <a:gd name="connsiteX4" fmla="*/ 798544 w 878349"/>
              <a:gd name="connsiteY4" fmla="*/ 534604 h 544872"/>
              <a:gd name="connsiteX5" fmla="*/ 759827 w 878349"/>
              <a:gd name="connsiteY5" fmla="*/ 542420 h 544872"/>
              <a:gd name="connsiteX6" fmla="*/ 753908 w 878349"/>
              <a:gd name="connsiteY6" fmla="*/ 544872 h 544872"/>
              <a:gd name="connsiteX7" fmla="*/ 747683 w 878349"/>
              <a:gd name="connsiteY7" fmla="*/ 544872 h 544872"/>
              <a:gd name="connsiteX8" fmla="*/ 190471 w 878349"/>
              <a:gd name="connsiteY8" fmla="*/ 544872 h 544872"/>
              <a:gd name="connsiteX9" fmla="*/ 166602 w 878349"/>
              <a:gd name="connsiteY9" fmla="*/ 544872 h 544872"/>
              <a:gd name="connsiteX10" fmla="*/ 158924 w 878349"/>
              <a:gd name="connsiteY10" fmla="*/ 541692 h 544872"/>
              <a:gd name="connsiteX11" fmla="*/ 152084 w 878349"/>
              <a:gd name="connsiteY11" fmla="*/ 541003 h 544872"/>
              <a:gd name="connsiteX12" fmla="*/ 0 w 878349"/>
              <a:gd name="connsiteY12" fmla="*/ 354401 h 544872"/>
              <a:gd name="connsiteX13" fmla="*/ 190471 w 878349"/>
              <a:gd name="connsiteY13" fmla="*/ 163930 h 544872"/>
              <a:gd name="connsiteX14" fmla="*/ 228858 w 878349"/>
              <a:gd name="connsiteY14" fmla="*/ 167800 h 544872"/>
              <a:gd name="connsiteX15" fmla="*/ 244320 w 878349"/>
              <a:gd name="connsiteY15" fmla="*/ 172600 h 544872"/>
              <a:gd name="connsiteX16" fmla="*/ 526204 w 878349"/>
              <a:gd name="connsiteY16" fmla="*/ 2045 h 544872"/>
              <a:gd name="connsiteX0" fmla="*/ 526204 w 878349"/>
              <a:gd name="connsiteY0" fmla="*/ 3099 h 545926"/>
              <a:gd name="connsiteX1" fmla="*/ 753041 w 878349"/>
              <a:gd name="connsiteY1" fmla="*/ 285676 h 545926"/>
              <a:gd name="connsiteX2" fmla="*/ 798544 w 878349"/>
              <a:gd name="connsiteY2" fmla="*/ 294863 h 545926"/>
              <a:gd name="connsiteX3" fmla="*/ 878349 w 878349"/>
              <a:gd name="connsiteY3" fmla="*/ 415260 h 545926"/>
              <a:gd name="connsiteX4" fmla="*/ 798544 w 878349"/>
              <a:gd name="connsiteY4" fmla="*/ 535658 h 545926"/>
              <a:gd name="connsiteX5" fmla="*/ 759827 w 878349"/>
              <a:gd name="connsiteY5" fmla="*/ 543474 h 545926"/>
              <a:gd name="connsiteX6" fmla="*/ 753908 w 878349"/>
              <a:gd name="connsiteY6" fmla="*/ 545926 h 545926"/>
              <a:gd name="connsiteX7" fmla="*/ 747683 w 878349"/>
              <a:gd name="connsiteY7" fmla="*/ 545926 h 545926"/>
              <a:gd name="connsiteX8" fmla="*/ 190471 w 878349"/>
              <a:gd name="connsiteY8" fmla="*/ 545926 h 545926"/>
              <a:gd name="connsiteX9" fmla="*/ 166602 w 878349"/>
              <a:gd name="connsiteY9" fmla="*/ 545926 h 545926"/>
              <a:gd name="connsiteX10" fmla="*/ 158924 w 878349"/>
              <a:gd name="connsiteY10" fmla="*/ 542746 h 545926"/>
              <a:gd name="connsiteX11" fmla="*/ 152084 w 878349"/>
              <a:gd name="connsiteY11" fmla="*/ 542057 h 545926"/>
              <a:gd name="connsiteX12" fmla="*/ 0 w 878349"/>
              <a:gd name="connsiteY12" fmla="*/ 355455 h 545926"/>
              <a:gd name="connsiteX13" fmla="*/ 190471 w 878349"/>
              <a:gd name="connsiteY13" fmla="*/ 164984 h 545926"/>
              <a:gd name="connsiteX14" fmla="*/ 228858 w 878349"/>
              <a:gd name="connsiteY14" fmla="*/ 168854 h 545926"/>
              <a:gd name="connsiteX15" fmla="*/ 244320 w 878349"/>
              <a:gd name="connsiteY15" fmla="*/ 173654 h 545926"/>
              <a:gd name="connsiteX16" fmla="*/ 526204 w 878349"/>
              <a:gd name="connsiteY16" fmla="*/ 3099 h 545926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798544 w 878349"/>
              <a:gd name="connsiteY2" fmla="*/ 294587 h 545650"/>
              <a:gd name="connsiteX3" fmla="*/ 878349 w 878349"/>
              <a:gd name="connsiteY3" fmla="*/ 414984 h 545650"/>
              <a:gd name="connsiteX4" fmla="*/ 798544 w 878349"/>
              <a:gd name="connsiteY4" fmla="*/ 535382 h 545650"/>
              <a:gd name="connsiteX5" fmla="*/ 759827 w 878349"/>
              <a:gd name="connsiteY5" fmla="*/ 543198 h 545650"/>
              <a:gd name="connsiteX6" fmla="*/ 753908 w 878349"/>
              <a:gd name="connsiteY6" fmla="*/ 545650 h 545650"/>
              <a:gd name="connsiteX7" fmla="*/ 747683 w 878349"/>
              <a:gd name="connsiteY7" fmla="*/ 545650 h 545650"/>
              <a:gd name="connsiteX8" fmla="*/ 190471 w 878349"/>
              <a:gd name="connsiteY8" fmla="*/ 545650 h 545650"/>
              <a:gd name="connsiteX9" fmla="*/ 166602 w 878349"/>
              <a:gd name="connsiteY9" fmla="*/ 545650 h 545650"/>
              <a:gd name="connsiteX10" fmla="*/ 158924 w 878349"/>
              <a:gd name="connsiteY10" fmla="*/ 542470 h 545650"/>
              <a:gd name="connsiteX11" fmla="*/ 152084 w 878349"/>
              <a:gd name="connsiteY11" fmla="*/ 541781 h 545650"/>
              <a:gd name="connsiteX12" fmla="*/ 0 w 878349"/>
              <a:gd name="connsiteY12" fmla="*/ 355179 h 545650"/>
              <a:gd name="connsiteX13" fmla="*/ 190471 w 878349"/>
              <a:gd name="connsiteY13" fmla="*/ 164708 h 545650"/>
              <a:gd name="connsiteX14" fmla="*/ 228858 w 878349"/>
              <a:gd name="connsiteY14" fmla="*/ 168578 h 545650"/>
              <a:gd name="connsiteX15" fmla="*/ 244320 w 878349"/>
              <a:gd name="connsiteY15" fmla="*/ 173378 h 545650"/>
              <a:gd name="connsiteX16" fmla="*/ 526204 w 878349"/>
              <a:gd name="connsiteY16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59827 w 878349"/>
              <a:gd name="connsiteY4" fmla="*/ 543198 h 545650"/>
              <a:gd name="connsiteX5" fmla="*/ 753908 w 878349"/>
              <a:gd name="connsiteY5" fmla="*/ 545650 h 545650"/>
              <a:gd name="connsiteX6" fmla="*/ 747683 w 878349"/>
              <a:gd name="connsiteY6" fmla="*/ 545650 h 545650"/>
              <a:gd name="connsiteX7" fmla="*/ 190471 w 878349"/>
              <a:gd name="connsiteY7" fmla="*/ 545650 h 545650"/>
              <a:gd name="connsiteX8" fmla="*/ 166602 w 878349"/>
              <a:gd name="connsiteY8" fmla="*/ 545650 h 545650"/>
              <a:gd name="connsiteX9" fmla="*/ 158924 w 878349"/>
              <a:gd name="connsiteY9" fmla="*/ 542470 h 545650"/>
              <a:gd name="connsiteX10" fmla="*/ 152084 w 878349"/>
              <a:gd name="connsiteY10" fmla="*/ 541781 h 545650"/>
              <a:gd name="connsiteX11" fmla="*/ 0 w 878349"/>
              <a:gd name="connsiteY11" fmla="*/ 355179 h 545650"/>
              <a:gd name="connsiteX12" fmla="*/ 190471 w 878349"/>
              <a:gd name="connsiteY12" fmla="*/ 164708 h 545650"/>
              <a:gd name="connsiteX13" fmla="*/ 228858 w 878349"/>
              <a:gd name="connsiteY13" fmla="*/ 168578 h 545650"/>
              <a:gd name="connsiteX14" fmla="*/ 244320 w 878349"/>
              <a:gd name="connsiteY14" fmla="*/ 173378 h 545650"/>
              <a:gd name="connsiteX15" fmla="*/ 526204 w 878349"/>
              <a:gd name="connsiteY15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59827 w 878349"/>
              <a:gd name="connsiteY4" fmla="*/ 543198 h 545650"/>
              <a:gd name="connsiteX5" fmla="*/ 747683 w 878349"/>
              <a:gd name="connsiteY5" fmla="*/ 545650 h 545650"/>
              <a:gd name="connsiteX6" fmla="*/ 190471 w 878349"/>
              <a:gd name="connsiteY6" fmla="*/ 545650 h 545650"/>
              <a:gd name="connsiteX7" fmla="*/ 166602 w 878349"/>
              <a:gd name="connsiteY7" fmla="*/ 545650 h 545650"/>
              <a:gd name="connsiteX8" fmla="*/ 158924 w 878349"/>
              <a:gd name="connsiteY8" fmla="*/ 542470 h 545650"/>
              <a:gd name="connsiteX9" fmla="*/ 152084 w 878349"/>
              <a:gd name="connsiteY9" fmla="*/ 541781 h 545650"/>
              <a:gd name="connsiteX10" fmla="*/ 0 w 878349"/>
              <a:gd name="connsiteY10" fmla="*/ 355179 h 545650"/>
              <a:gd name="connsiteX11" fmla="*/ 190471 w 878349"/>
              <a:gd name="connsiteY11" fmla="*/ 164708 h 545650"/>
              <a:gd name="connsiteX12" fmla="*/ 228858 w 878349"/>
              <a:gd name="connsiteY12" fmla="*/ 168578 h 545650"/>
              <a:gd name="connsiteX13" fmla="*/ 244320 w 878349"/>
              <a:gd name="connsiteY13" fmla="*/ 173378 h 545650"/>
              <a:gd name="connsiteX14" fmla="*/ 526204 w 878349"/>
              <a:gd name="connsiteY14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47683 w 878349"/>
              <a:gd name="connsiteY4" fmla="*/ 545650 h 545650"/>
              <a:gd name="connsiteX5" fmla="*/ 190471 w 878349"/>
              <a:gd name="connsiteY5" fmla="*/ 545650 h 545650"/>
              <a:gd name="connsiteX6" fmla="*/ 166602 w 878349"/>
              <a:gd name="connsiteY6" fmla="*/ 545650 h 545650"/>
              <a:gd name="connsiteX7" fmla="*/ 158924 w 878349"/>
              <a:gd name="connsiteY7" fmla="*/ 542470 h 545650"/>
              <a:gd name="connsiteX8" fmla="*/ 152084 w 878349"/>
              <a:gd name="connsiteY8" fmla="*/ 541781 h 545650"/>
              <a:gd name="connsiteX9" fmla="*/ 0 w 878349"/>
              <a:gd name="connsiteY9" fmla="*/ 355179 h 545650"/>
              <a:gd name="connsiteX10" fmla="*/ 190471 w 878349"/>
              <a:gd name="connsiteY10" fmla="*/ 164708 h 545650"/>
              <a:gd name="connsiteX11" fmla="*/ 228858 w 878349"/>
              <a:gd name="connsiteY11" fmla="*/ 168578 h 545650"/>
              <a:gd name="connsiteX12" fmla="*/ 244320 w 878349"/>
              <a:gd name="connsiteY12" fmla="*/ 173378 h 545650"/>
              <a:gd name="connsiteX13" fmla="*/ 526204 w 878349"/>
              <a:gd name="connsiteY13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47683 w 878349"/>
              <a:gd name="connsiteY3" fmla="*/ 545650 h 545650"/>
              <a:gd name="connsiteX4" fmla="*/ 190471 w 878349"/>
              <a:gd name="connsiteY4" fmla="*/ 545650 h 545650"/>
              <a:gd name="connsiteX5" fmla="*/ 166602 w 878349"/>
              <a:gd name="connsiteY5" fmla="*/ 545650 h 545650"/>
              <a:gd name="connsiteX6" fmla="*/ 158924 w 878349"/>
              <a:gd name="connsiteY6" fmla="*/ 542470 h 545650"/>
              <a:gd name="connsiteX7" fmla="*/ 152084 w 878349"/>
              <a:gd name="connsiteY7" fmla="*/ 541781 h 545650"/>
              <a:gd name="connsiteX8" fmla="*/ 0 w 878349"/>
              <a:gd name="connsiteY8" fmla="*/ 355179 h 545650"/>
              <a:gd name="connsiteX9" fmla="*/ 190471 w 878349"/>
              <a:gd name="connsiteY9" fmla="*/ 164708 h 545650"/>
              <a:gd name="connsiteX10" fmla="*/ 228858 w 878349"/>
              <a:gd name="connsiteY10" fmla="*/ 168578 h 545650"/>
              <a:gd name="connsiteX11" fmla="*/ 244320 w 878349"/>
              <a:gd name="connsiteY11" fmla="*/ 173378 h 545650"/>
              <a:gd name="connsiteX12" fmla="*/ 526204 w 878349"/>
              <a:gd name="connsiteY12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47683 w 878349"/>
              <a:gd name="connsiteY3" fmla="*/ 545650 h 545650"/>
              <a:gd name="connsiteX4" fmla="*/ 190471 w 878349"/>
              <a:gd name="connsiteY4" fmla="*/ 545650 h 545650"/>
              <a:gd name="connsiteX5" fmla="*/ 166602 w 878349"/>
              <a:gd name="connsiteY5" fmla="*/ 545650 h 545650"/>
              <a:gd name="connsiteX6" fmla="*/ 158924 w 878349"/>
              <a:gd name="connsiteY6" fmla="*/ 542470 h 545650"/>
              <a:gd name="connsiteX7" fmla="*/ 152084 w 878349"/>
              <a:gd name="connsiteY7" fmla="*/ 541781 h 545650"/>
              <a:gd name="connsiteX8" fmla="*/ 0 w 878349"/>
              <a:gd name="connsiteY8" fmla="*/ 355179 h 545650"/>
              <a:gd name="connsiteX9" fmla="*/ 190471 w 878349"/>
              <a:gd name="connsiteY9" fmla="*/ 164708 h 545650"/>
              <a:gd name="connsiteX10" fmla="*/ 228858 w 878349"/>
              <a:gd name="connsiteY10" fmla="*/ 168578 h 545650"/>
              <a:gd name="connsiteX11" fmla="*/ 244320 w 878349"/>
              <a:gd name="connsiteY11" fmla="*/ 173378 h 545650"/>
              <a:gd name="connsiteX12" fmla="*/ 526204 w 878349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60"/>
              <a:gd name="connsiteY0" fmla="*/ 2823 h 545650"/>
              <a:gd name="connsiteX1" fmla="*/ 753041 w 878360"/>
              <a:gd name="connsiteY1" fmla="*/ 285400 h 545650"/>
              <a:gd name="connsiteX2" fmla="*/ 878349 w 878360"/>
              <a:gd name="connsiteY2" fmla="*/ 414984 h 545650"/>
              <a:gd name="connsiteX3" fmla="*/ 747683 w 878360"/>
              <a:gd name="connsiteY3" fmla="*/ 545650 h 545650"/>
              <a:gd name="connsiteX4" fmla="*/ 190471 w 878360"/>
              <a:gd name="connsiteY4" fmla="*/ 545650 h 545650"/>
              <a:gd name="connsiteX5" fmla="*/ 166602 w 878360"/>
              <a:gd name="connsiteY5" fmla="*/ 545650 h 545650"/>
              <a:gd name="connsiteX6" fmla="*/ 158924 w 878360"/>
              <a:gd name="connsiteY6" fmla="*/ 542470 h 545650"/>
              <a:gd name="connsiteX7" fmla="*/ 152084 w 878360"/>
              <a:gd name="connsiteY7" fmla="*/ 541781 h 545650"/>
              <a:gd name="connsiteX8" fmla="*/ 0 w 878360"/>
              <a:gd name="connsiteY8" fmla="*/ 355179 h 545650"/>
              <a:gd name="connsiteX9" fmla="*/ 190471 w 878360"/>
              <a:gd name="connsiteY9" fmla="*/ 164708 h 545650"/>
              <a:gd name="connsiteX10" fmla="*/ 228858 w 878360"/>
              <a:gd name="connsiteY10" fmla="*/ 168578 h 545650"/>
              <a:gd name="connsiteX11" fmla="*/ 244320 w 878360"/>
              <a:gd name="connsiteY11" fmla="*/ 173378 h 545650"/>
              <a:gd name="connsiteX12" fmla="*/ 526204 w 878360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51"/>
              <a:gd name="connsiteY0" fmla="*/ 2823 h 545650"/>
              <a:gd name="connsiteX1" fmla="*/ 753041 w 878351"/>
              <a:gd name="connsiteY1" fmla="*/ 285400 h 545650"/>
              <a:gd name="connsiteX2" fmla="*/ 878349 w 878351"/>
              <a:gd name="connsiteY2" fmla="*/ 414984 h 545650"/>
              <a:gd name="connsiteX3" fmla="*/ 747683 w 878351"/>
              <a:gd name="connsiteY3" fmla="*/ 545650 h 545650"/>
              <a:gd name="connsiteX4" fmla="*/ 190471 w 878351"/>
              <a:gd name="connsiteY4" fmla="*/ 545650 h 545650"/>
              <a:gd name="connsiteX5" fmla="*/ 166602 w 878351"/>
              <a:gd name="connsiteY5" fmla="*/ 545650 h 545650"/>
              <a:gd name="connsiteX6" fmla="*/ 158924 w 878351"/>
              <a:gd name="connsiteY6" fmla="*/ 542470 h 545650"/>
              <a:gd name="connsiteX7" fmla="*/ 152084 w 878351"/>
              <a:gd name="connsiteY7" fmla="*/ 541781 h 545650"/>
              <a:gd name="connsiteX8" fmla="*/ 0 w 878351"/>
              <a:gd name="connsiteY8" fmla="*/ 355179 h 545650"/>
              <a:gd name="connsiteX9" fmla="*/ 190471 w 878351"/>
              <a:gd name="connsiteY9" fmla="*/ 164708 h 545650"/>
              <a:gd name="connsiteX10" fmla="*/ 228858 w 878351"/>
              <a:gd name="connsiteY10" fmla="*/ 168578 h 545650"/>
              <a:gd name="connsiteX11" fmla="*/ 244320 w 878351"/>
              <a:gd name="connsiteY11" fmla="*/ 173378 h 545650"/>
              <a:gd name="connsiteX12" fmla="*/ 526204 w 878351"/>
              <a:gd name="connsiteY12" fmla="*/ 2823 h 545650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7585 w 879730"/>
              <a:gd name="connsiteY0" fmla="*/ 2823 h 545651"/>
              <a:gd name="connsiteX1" fmla="*/ 754422 w 879730"/>
              <a:gd name="connsiteY1" fmla="*/ 285400 h 545651"/>
              <a:gd name="connsiteX2" fmla="*/ 879730 w 879730"/>
              <a:gd name="connsiteY2" fmla="*/ 414984 h 545651"/>
              <a:gd name="connsiteX3" fmla="*/ 749064 w 879730"/>
              <a:gd name="connsiteY3" fmla="*/ 545650 h 545651"/>
              <a:gd name="connsiteX4" fmla="*/ 191852 w 879730"/>
              <a:gd name="connsiteY4" fmla="*/ 545650 h 545651"/>
              <a:gd name="connsiteX5" fmla="*/ 167983 w 879730"/>
              <a:gd name="connsiteY5" fmla="*/ 545650 h 545651"/>
              <a:gd name="connsiteX6" fmla="*/ 160305 w 879730"/>
              <a:gd name="connsiteY6" fmla="*/ 542470 h 545651"/>
              <a:gd name="connsiteX7" fmla="*/ 153465 w 879730"/>
              <a:gd name="connsiteY7" fmla="*/ 541781 h 545651"/>
              <a:gd name="connsiteX8" fmla="*/ 1381 w 879730"/>
              <a:gd name="connsiteY8" fmla="*/ 355179 h 545651"/>
              <a:gd name="connsiteX9" fmla="*/ 230239 w 879730"/>
              <a:gd name="connsiteY9" fmla="*/ 168578 h 545651"/>
              <a:gd name="connsiteX10" fmla="*/ 245701 w 879730"/>
              <a:gd name="connsiteY10" fmla="*/ 173378 h 545651"/>
              <a:gd name="connsiteX11" fmla="*/ 527585 w 879730"/>
              <a:gd name="connsiteY11" fmla="*/ 2823 h 545651"/>
              <a:gd name="connsiteX0" fmla="*/ 528098 w 880243"/>
              <a:gd name="connsiteY0" fmla="*/ 2823 h 545651"/>
              <a:gd name="connsiteX1" fmla="*/ 754935 w 880243"/>
              <a:gd name="connsiteY1" fmla="*/ 285400 h 545651"/>
              <a:gd name="connsiteX2" fmla="*/ 880243 w 880243"/>
              <a:gd name="connsiteY2" fmla="*/ 414984 h 545651"/>
              <a:gd name="connsiteX3" fmla="*/ 749577 w 880243"/>
              <a:gd name="connsiteY3" fmla="*/ 545650 h 545651"/>
              <a:gd name="connsiteX4" fmla="*/ 192365 w 880243"/>
              <a:gd name="connsiteY4" fmla="*/ 545650 h 545651"/>
              <a:gd name="connsiteX5" fmla="*/ 168496 w 880243"/>
              <a:gd name="connsiteY5" fmla="*/ 545650 h 545651"/>
              <a:gd name="connsiteX6" fmla="*/ 160818 w 880243"/>
              <a:gd name="connsiteY6" fmla="*/ 542470 h 545651"/>
              <a:gd name="connsiteX7" fmla="*/ 153978 w 880243"/>
              <a:gd name="connsiteY7" fmla="*/ 541781 h 545651"/>
              <a:gd name="connsiteX8" fmla="*/ 1894 w 880243"/>
              <a:gd name="connsiteY8" fmla="*/ 355179 h 545651"/>
              <a:gd name="connsiteX9" fmla="*/ 246214 w 880243"/>
              <a:gd name="connsiteY9" fmla="*/ 173378 h 545651"/>
              <a:gd name="connsiteX10" fmla="*/ 528098 w 880243"/>
              <a:gd name="connsiteY10" fmla="*/ 2823 h 545651"/>
              <a:gd name="connsiteX0" fmla="*/ 528098 w 880243"/>
              <a:gd name="connsiteY0" fmla="*/ 2823 h 545651"/>
              <a:gd name="connsiteX1" fmla="*/ 754935 w 880243"/>
              <a:gd name="connsiteY1" fmla="*/ 285400 h 545651"/>
              <a:gd name="connsiteX2" fmla="*/ 880243 w 880243"/>
              <a:gd name="connsiteY2" fmla="*/ 414984 h 545651"/>
              <a:gd name="connsiteX3" fmla="*/ 749577 w 880243"/>
              <a:gd name="connsiteY3" fmla="*/ 545650 h 545651"/>
              <a:gd name="connsiteX4" fmla="*/ 192365 w 880243"/>
              <a:gd name="connsiteY4" fmla="*/ 545650 h 545651"/>
              <a:gd name="connsiteX5" fmla="*/ 168496 w 880243"/>
              <a:gd name="connsiteY5" fmla="*/ 545650 h 545651"/>
              <a:gd name="connsiteX6" fmla="*/ 160818 w 880243"/>
              <a:gd name="connsiteY6" fmla="*/ 542470 h 545651"/>
              <a:gd name="connsiteX7" fmla="*/ 153978 w 880243"/>
              <a:gd name="connsiteY7" fmla="*/ 541781 h 545651"/>
              <a:gd name="connsiteX8" fmla="*/ 1894 w 880243"/>
              <a:gd name="connsiteY8" fmla="*/ 355179 h 545651"/>
              <a:gd name="connsiteX9" fmla="*/ 246214 w 880243"/>
              <a:gd name="connsiteY9" fmla="*/ 173378 h 545651"/>
              <a:gd name="connsiteX10" fmla="*/ 528098 w 880243"/>
              <a:gd name="connsiteY10" fmla="*/ 2823 h 545651"/>
              <a:gd name="connsiteX0" fmla="*/ 526208 w 878353"/>
              <a:gd name="connsiteY0" fmla="*/ 2823 h 545651"/>
              <a:gd name="connsiteX1" fmla="*/ 753045 w 878353"/>
              <a:gd name="connsiteY1" fmla="*/ 285400 h 545651"/>
              <a:gd name="connsiteX2" fmla="*/ 878353 w 878353"/>
              <a:gd name="connsiteY2" fmla="*/ 414984 h 545651"/>
              <a:gd name="connsiteX3" fmla="*/ 747687 w 878353"/>
              <a:gd name="connsiteY3" fmla="*/ 545650 h 545651"/>
              <a:gd name="connsiteX4" fmla="*/ 190475 w 878353"/>
              <a:gd name="connsiteY4" fmla="*/ 545650 h 545651"/>
              <a:gd name="connsiteX5" fmla="*/ 166606 w 878353"/>
              <a:gd name="connsiteY5" fmla="*/ 545650 h 545651"/>
              <a:gd name="connsiteX6" fmla="*/ 158928 w 878353"/>
              <a:gd name="connsiteY6" fmla="*/ 542470 h 545651"/>
              <a:gd name="connsiteX7" fmla="*/ 152088 w 878353"/>
              <a:gd name="connsiteY7" fmla="*/ 541781 h 545651"/>
              <a:gd name="connsiteX8" fmla="*/ 4 w 878353"/>
              <a:gd name="connsiteY8" fmla="*/ 355179 h 545651"/>
              <a:gd name="connsiteX9" fmla="*/ 244324 w 878353"/>
              <a:gd name="connsiteY9" fmla="*/ 173378 h 545651"/>
              <a:gd name="connsiteX10" fmla="*/ 526208 w 878353"/>
              <a:gd name="connsiteY10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66614 w 878361"/>
              <a:gd name="connsiteY5" fmla="*/ 545650 h 545651"/>
              <a:gd name="connsiteX6" fmla="*/ 158936 w 878361"/>
              <a:gd name="connsiteY6" fmla="*/ 542470 h 545651"/>
              <a:gd name="connsiteX7" fmla="*/ 152096 w 878361"/>
              <a:gd name="connsiteY7" fmla="*/ 541781 h 545651"/>
              <a:gd name="connsiteX8" fmla="*/ 12 w 878361"/>
              <a:gd name="connsiteY8" fmla="*/ 355179 h 545651"/>
              <a:gd name="connsiteX9" fmla="*/ 244332 w 878361"/>
              <a:gd name="connsiteY9" fmla="*/ 173378 h 545651"/>
              <a:gd name="connsiteX10" fmla="*/ 526216 w 878361"/>
              <a:gd name="connsiteY10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58936 w 878361"/>
              <a:gd name="connsiteY5" fmla="*/ 542470 h 545651"/>
              <a:gd name="connsiteX6" fmla="*/ 152096 w 878361"/>
              <a:gd name="connsiteY6" fmla="*/ 541781 h 545651"/>
              <a:gd name="connsiteX7" fmla="*/ 12 w 878361"/>
              <a:gd name="connsiteY7" fmla="*/ 355179 h 545651"/>
              <a:gd name="connsiteX8" fmla="*/ 244332 w 878361"/>
              <a:gd name="connsiteY8" fmla="*/ 173378 h 545651"/>
              <a:gd name="connsiteX9" fmla="*/ 526216 w 878361"/>
              <a:gd name="connsiteY9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52096 w 878361"/>
              <a:gd name="connsiteY5" fmla="*/ 541781 h 545651"/>
              <a:gd name="connsiteX6" fmla="*/ 12 w 878361"/>
              <a:gd name="connsiteY6" fmla="*/ 355179 h 545651"/>
              <a:gd name="connsiteX7" fmla="*/ 244332 w 878361"/>
              <a:gd name="connsiteY7" fmla="*/ 173378 h 545651"/>
              <a:gd name="connsiteX8" fmla="*/ 526216 w 878361"/>
              <a:gd name="connsiteY8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2 w 878361"/>
              <a:gd name="connsiteY5" fmla="*/ 355179 h 545651"/>
              <a:gd name="connsiteX6" fmla="*/ 244332 w 878361"/>
              <a:gd name="connsiteY6" fmla="*/ 173378 h 545651"/>
              <a:gd name="connsiteX7" fmla="*/ 526216 w 878361"/>
              <a:gd name="connsiteY7" fmla="*/ 2823 h 545651"/>
              <a:gd name="connsiteX0" fmla="*/ 528231 w 880376"/>
              <a:gd name="connsiteY0" fmla="*/ 2823 h 545651"/>
              <a:gd name="connsiteX1" fmla="*/ 755068 w 880376"/>
              <a:gd name="connsiteY1" fmla="*/ 285400 h 545651"/>
              <a:gd name="connsiteX2" fmla="*/ 880376 w 880376"/>
              <a:gd name="connsiteY2" fmla="*/ 414984 h 545651"/>
              <a:gd name="connsiteX3" fmla="*/ 749710 w 880376"/>
              <a:gd name="connsiteY3" fmla="*/ 545650 h 545651"/>
              <a:gd name="connsiteX4" fmla="*/ 192498 w 880376"/>
              <a:gd name="connsiteY4" fmla="*/ 545650 h 545651"/>
              <a:gd name="connsiteX5" fmla="*/ 2027 w 880376"/>
              <a:gd name="connsiteY5" fmla="*/ 355179 h 545651"/>
              <a:gd name="connsiteX6" fmla="*/ 246347 w 880376"/>
              <a:gd name="connsiteY6" fmla="*/ 173378 h 545651"/>
              <a:gd name="connsiteX7" fmla="*/ 528231 w 880376"/>
              <a:gd name="connsiteY7" fmla="*/ 2823 h 545651"/>
              <a:gd name="connsiteX0" fmla="*/ 526217 w 878362"/>
              <a:gd name="connsiteY0" fmla="*/ 2823 h 545651"/>
              <a:gd name="connsiteX1" fmla="*/ 753054 w 878362"/>
              <a:gd name="connsiteY1" fmla="*/ 285400 h 545651"/>
              <a:gd name="connsiteX2" fmla="*/ 878362 w 878362"/>
              <a:gd name="connsiteY2" fmla="*/ 414984 h 545651"/>
              <a:gd name="connsiteX3" fmla="*/ 747696 w 878362"/>
              <a:gd name="connsiteY3" fmla="*/ 545650 h 545651"/>
              <a:gd name="connsiteX4" fmla="*/ 190484 w 878362"/>
              <a:gd name="connsiteY4" fmla="*/ 545650 h 545651"/>
              <a:gd name="connsiteX5" fmla="*/ 13 w 878362"/>
              <a:gd name="connsiteY5" fmla="*/ 355179 h 545651"/>
              <a:gd name="connsiteX6" fmla="*/ 244333 w 878362"/>
              <a:gd name="connsiteY6" fmla="*/ 173378 h 545651"/>
              <a:gd name="connsiteX7" fmla="*/ 526217 w 878362"/>
              <a:gd name="connsiteY7" fmla="*/ 2823 h 545651"/>
              <a:gd name="connsiteX0" fmla="*/ 526964 w 879109"/>
              <a:gd name="connsiteY0" fmla="*/ 2823 h 545651"/>
              <a:gd name="connsiteX1" fmla="*/ 753801 w 879109"/>
              <a:gd name="connsiteY1" fmla="*/ 285400 h 545651"/>
              <a:gd name="connsiteX2" fmla="*/ 879109 w 879109"/>
              <a:gd name="connsiteY2" fmla="*/ 414984 h 545651"/>
              <a:gd name="connsiteX3" fmla="*/ 748443 w 879109"/>
              <a:gd name="connsiteY3" fmla="*/ 545650 h 545651"/>
              <a:gd name="connsiteX4" fmla="*/ 191231 w 879109"/>
              <a:gd name="connsiteY4" fmla="*/ 545650 h 545651"/>
              <a:gd name="connsiteX5" fmla="*/ 760 w 879109"/>
              <a:gd name="connsiteY5" fmla="*/ 355179 h 545651"/>
              <a:gd name="connsiteX6" fmla="*/ 245080 w 879109"/>
              <a:gd name="connsiteY6" fmla="*/ 173378 h 545651"/>
              <a:gd name="connsiteX7" fmla="*/ 526964 w 879109"/>
              <a:gd name="connsiteY7" fmla="*/ 2823 h 545651"/>
              <a:gd name="connsiteX0" fmla="*/ 526217 w 878362"/>
              <a:gd name="connsiteY0" fmla="*/ 2823 h 545651"/>
              <a:gd name="connsiteX1" fmla="*/ 753054 w 878362"/>
              <a:gd name="connsiteY1" fmla="*/ 285400 h 545651"/>
              <a:gd name="connsiteX2" fmla="*/ 878362 w 878362"/>
              <a:gd name="connsiteY2" fmla="*/ 414984 h 545651"/>
              <a:gd name="connsiteX3" fmla="*/ 747696 w 878362"/>
              <a:gd name="connsiteY3" fmla="*/ 545650 h 545651"/>
              <a:gd name="connsiteX4" fmla="*/ 190484 w 878362"/>
              <a:gd name="connsiteY4" fmla="*/ 545650 h 545651"/>
              <a:gd name="connsiteX5" fmla="*/ 13 w 878362"/>
              <a:gd name="connsiteY5" fmla="*/ 355179 h 545651"/>
              <a:gd name="connsiteX6" fmla="*/ 244333 w 878362"/>
              <a:gd name="connsiteY6" fmla="*/ 173378 h 545651"/>
              <a:gd name="connsiteX7" fmla="*/ 526217 w 878362"/>
              <a:gd name="connsiteY7" fmla="*/ 2823 h 545651"/>
              <a:gd name="connsiteX0" fmla="*/ 526245 w 878390"/>
              <a:gd name="connsiteY0" fmla="*/ 2823 h 545651"/>
              <a:gd name="connsiteX1" fmla="*/ 753082 w 878390"/>
              <a:gd name="connsiteY1" fmla="*/ 285400 h 545651"/>
              <a:gd name="connsiteX2" fmla="*/ 878390 w 878390"/>
              <a:gd name="connsiteY2" fmla="*/ 414984 h 545651"/>
              <a:gd name="connsiteX3" fmla="*/ 747724 w 878390"/>
              <a:gd name="connsiteY3" fmla="*/ 545650 h 545651"/>
              <a:gd name="connsiteX4" fmla="*/ 190512 w 878390"/>
              <a:gd name="connsiteY4" fmla="*/ 545650 h 545651"/>
              <a:gd name="connsiteX5" fmla="*/ 41 w 878390"/>
              <a:gd name="connsiteY5" fmla="*/ 355179 h 545651"/>
              <a:gd name="connsiteX6" fmla="*/ 244361 w 878390"/>
              <a:gd name="connsiteY6" fmla="*/ 173378 h 545651"/>
              <a:gd name="connsiteX7" fmla="*/ 526245 w 878390"/>
              <a:gd name="connsiteY7" fmla="*/ 2823 h 545651"/>
              <a:gd name="connsiteX0" fmla="*/ 526964 w 879109"/>
              <a:gd name="connsiteY0" fmla="*/ 2823 h 545651"/>
              <a:gd name="connsiteX1" fmla="*/ 753801 w 879109"/>
              <a:gd name="connsiteY1" fmla="*/ 285400 h 545651"/>
              <a:gd name="connsiteX2" fmla="*/ 879109 w 879109"/>
              <a:gd name="connsiteY2" fmla="*/ 414984 h 545651"/>
              <a:gd name="connsiteX3" fmla="*/ 748443 w 879109"/>
              <a:gd name="connsiteY3" fmla="*/ 545650 h 545651"/>
              <a:gd name="connsiteX4" fmla="*/ 191231 w 879109"/>
              <a:gd name="connsiteY4" fmla="*/ 545650 h 545651"/>
              <a:gd name="connsiteX5" fmla="*/ 760 w 879109"/>
              <a:gd name="connsiteY5" fmla="*/ 355179 h 545651"/>
              <a:gd name="connsiteX6" fmla="*/ 245080 w 879109"/>
              <a:gd name="connsiteY6" fmla="*/ 173378 h 545651"/>
              <a:gd name="connsiteX7" fmla="*/ 526964 w 879109"/>
              <a:gd name="connsiteY7" fmla="*/ 2823 h 545651"/>
              <a:gd name="connsiteX0" fmla="*/ 526721 w 878866"/>
              <a:gd name="connsiteY0" fmla="*/ 2823 h 545651"/>
              <a:gd name="connsiteX1" fmla="*/ 753558 w 878866"/>
              <a:gd name="connsiteY1" fmla="*/ 285400 h 545651"/>
              <a:gd name="connsiteX2" fmla="*/ 878866 w 878866"/>
              <a:gd name="connsiteY2" fmla="*/ 414984 h 545651"/>
              <a:gd name="connsiteX3" fmla="*/ 748200 w 878866"/>
              <a:gd name="connsiteY3" fmla="*/ 545650 h 545651"/>
              <a:gd name="connsiteX4" fmla="*/ 190988 w 878866"/>
              <a:gd name="connsiteY4" fmla="*/ 545650 h 545651"/>
              <a:gd name="connsiteX5" fmla="*/ 517 w 878866"/>
              <a:gd name="connsiteY5" fmla="*/ 355179 h 545651"/>
              <a:gd name="connsiteX6" fmla="*/ 244837 w 878866"/>
              <a:gd name="connsiteY6" fmla="*/ 173378 h 545651"/>
              <a:gd name="connsiteX7" fmla="*/ 526721 w 878866"/>
              <a:gd name="connsiteY7" fmla="*/ 2823 h 545651"/>
              <a:gd name="connsiteX0" fmla="*/ 526246 w 878391"/>
              <a:gd name="connsiteY0" fmla="*/ 2823 h 545651"/>
              <a:gd name="connsiteX1" fmla="*/ 753083 w 878391"/>
              <a:gd name="connsiteY1" fmla="*/ 285400 h 545651"/>
              <a:gd name="connsiteX2" fmla="*/ 878391 w 878391"/>
              <a:gd name="connsiteY2" fmla="*/ 414984 h 545651"/>
              <a:gd name="connsiteX3" fmla="*/ 747725 w 878391"/>
              <a:gd name="connsiteY3" fmla="*/ 545650 h 545651"/>
              <a:gd name="connsiteX4" fmla="*/ 190513 w 878391"/>
              <a:gd name="connsiteY4" fmla="*/ 545650 h 545651"/>
              <a:gd name="connsiteX5" fmla="*/ 42 w 878391"/>
              <a:gd name="connsiteY5" fmla="*/ 355179 h 545651"/>
              <a:gd name="connsiteX6" fmla="*/ 244362 w 878391"/>
              <a:gd name="connsiteY6" fmla="*/ 173378 h 545651"/>
              <a:gd name="connsiteX7" fmla="*/ 526246 w 878391"/>
              <a:gd name="connsiteY7" fmla="*/ 2823 h 545651"/>
              <a:gd name="connsiteX0" fmla="*/ 526246 w 878391"/>
              <a:gd name="connsiteY0" fmla="*/ 2823 h 545651"/>
              <a:gd name="connsiteX1" fmla="*/ 753083 w 878391"/>
              <a:gd name="connsiteY1" fmla="*/ 285400 h 545651"/>
              <a:gd name="connsiteX2" fmla="*/ 878391 w 878391"/>
              <a:gd name="connsiteY2" fmla="*/ 414984 h 545651"/>
              <a:gd name="connsiteX3" fmla="*/ 747725 w 878391"/>
              <a:gd name="connsiteY3" fmla="*/ 545650 h 545651"/>
              <a:gd name="connsiteX4" fmla="*/ 190513 w 878391"/>
              <a:gd name="connsiteY4" fmla="*/ 545650 h 545651"/>
              <a:gd name="connsiteX5" fmla="*/ 42 w 878391"/>
              <a:gd name="connsiteY5" fmla="*/ 355179 h 545651"/>
              <a:gd name="connsiteX6" fmla="*/ 244362 w 878391"/>
              <a:gd name="connsiteY6" fmla="*/ 173378 h 545651"/>
              <a:gd name="connsiteX7" fmla="*/ 526246 w 878391"/>
              <a:gd name="connsiteY7" fmla="*/ 2823 h 545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8391" h="545651">
                <a:moveTo>
                  <a:pt x="526246" y="2823"/>
                </a:moveTo>
                <a:cubicBezTo>
                  <a:pt x="663881" y="24023"/>
                  <a:pt x="772336" y="152517"/>
                  <a:pt x="753083" y="285400"/>
                </a:cubicBezTo>
                <a:cubicBezTo>
                  <a:pt x="852208" y="299089"/>
                  <a:pt x="878212" y="375742"/>
                  <a:pt x="878391" y="414984"/>
                </a:cubicBezTo>
                <a:cubicBezTo>
                  <a:pt x="878627" y="466609"/>
                  <a:pt x="833938" y="546043"/>
                  <a:pt x="747725" y="545650"/>
                </a:cubicBezTo>
                <a:lnTo>
                  <a:pt x="190513" y="545650"/>
                </a:lnTo>
                <a:cubicBezTo>
                  <a:pt x="77130" y="544985"/>
                  <a:pt x="2268" y="445667"/>
                  <a:pt x="42" y="355179"/>
                </a:cubicBezTo>
                <a:cubicBezTo>
                  <a:pt x="-2184" y="264691"/>
                  <a:pt x="84465" y="123521"/>
                  <a:pt x="244362" y="173378"/>
                </a:cubicBezTo>
                <a:cubicBezTo>
                  <a:pt x="271526" y="75658"/>
                  <a:pt x="394045" y="-17540"/>
                  <a:pt x="526246" y="2823"/>
                </a:cubicBezTo>
                <a:close/>
              </a:path>
            </a:pathLst>
          </a:cu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IN" sz="1961" b="1" kern="0" dirty="0">
              <a:solidFill>
                <a:srgbClr val="FFFFFF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9" name="Freeform 15"/>
          <p:cNvSpPr>
            <a:spLocks noEditPoints="1"/>
          </p:cNvSpPr>
          <p:nvPr/>
        </p:nvSpPr>
        <p:spPr bwMode="black">
          <a:xfrm>
            <a:off x="7100236" y="2663643"/>
            <a:ext cx="544811" cy="496698"/>
          </a:xfrm>
          <a:custGeom>
            <a:avLst/>
            <a:gdLst>
              <a:gd name="T0" fmla="*/ 436 w 2416"/>
              <a:gd name="T1" fmla="*/ 708 h 2209"/>
              <a:gd name="T2" fmla="*/ 524 w 2416"/>
              <a:gd name="T3" fmla="*/ 768 h 2209"/>
              <a:gd name="T4" fmla="*/ 883 w 2416"/>
              <a:gd name="T5" fmla="*/ 698 h 2209"/>
              <a:gd name="T6" fmla="*/ 1293 w 2416"/>
              <a:gd name="T7" fmla="*/ 707 h 2209"/>
              <a:gd name="T8" fmla="*/ 1449 w 2416"/>
              <a:gd name="T9" fmla="*/ 702 h 2209"/>
              <a:gd name="T10" fmla="*/ 1429 w 2416"/>
              <a:gd name="T11" fmla="*/ 399 h 2209"/>
              <a:gd name="T12" fmla="*/ 1317 w 2416"/>
              <a:gd name="T13" fmla="*/ 124 h 2209"/>
              <a:gd name="T14" fmla="*/ 1101 w 2416"/>
              <a:gd name="T15" fmla="*/ 21 h 2209"/>
              <a:gd name="T16" fmla="*/ 536 w 2416"/>
              <a:gd name="T17" fmla="*/ 250 h 2209"/>
              <a:gd name="T18" fmla="*/ 353 w 2416"/>
              <a:gd name="T19" fmla="*/ 433 h 2209"/>
              <a:gd name="T20" fmla="*/ 387 w 2416"/>
              <a:gd name="T21" fmla="*/ 530 h 2209"/>
              <a:gd name="T22" fmla="*/ 450 w 2416"/>
              <a:gd name="T23" fmla="*/ 1207 h 2209"/>
              <a:gd name="T24" fmla="*/ 617 w 2416"/>
              <a:gd name="T25" fmla="*/ 1272 h 2209"/>
              <a:gd name="T26" fmla="*/ 689 w 2416"/>
              <a:gd name="T27" fmla="*/ 1270 h 2209"/>
              <a:gd name="T28" fmla="*/ 653 w 2416"/>
              <a:gd name="T29" fmla="*/ 1190 h 2209"/>
              <a:gd name="T30" fmla="*/ 626 w 2416"/>
              <a:gd name="T31" fmla="*/ 1126 h 2209"/>
              <a:gd name="T32" fmla="*/ 553 w 2416"/>
              <a:gd name="T33" fmla="*/ 1010 h 2209"/>
              <a:gd name="T34" fmla="*/ 386 w 2416"/>
              <a:gd name="T35" fmla="*/ 755 h 2209"/>
              <a:gd name="T36" fmla="*/ 209 w 2416"/>
              <a:gd name="T37" fmla="*/ 573 h 2209"/>
              <a:gd name="T38" fmla="*/ 48 w 2416"/>
              <a:gd name="T39" fmla="*/ 787 h 2209"/>
              <a:gd name="T40" fmla="*/ 121 w 2416"/>
              <a:gd name="T41" fmla="*/ 1190 h 2209"/>
              <a:gd name="T42" fmla="*/ 355 w 2416"/>
              <a:gd name="T43" fmla="*/ 1178 h 2209"/>
              <a:gd name="T44" fmla="*/ 2011 w 2416"/>
              <a:gd name="T45" fmla="*/ 189 h 2209"/>
              <a:gd name="T46" fmla="*/ 1470 w 2416"/>
              <a:gd name="T47" fmla="*/ 25 h 2209"/>
              <a:gd name="T48" fmla="*/ 1383 w 2416"/>
              <a:gd name="T49" fmla="*/ 196 h 2209"/>
              <a:gd name="T50" fmla="*/ 1533 w 2416"/>
              <a:gd name="T51" fmla="*/ 610 h 2209"/>
              <a:gd name="T52" fmla="*/ 1588 w 2416"/>
              <a:gd name="T53" fmla="*/ 803 h 2209"/>
              <a:gd name="T54" fmla="*/ 1722 w 2416"/>
              <a:gd name="T55" fmla="*/ 938 h 2209"/>
              <a:gd name="T56" fmla="*/ 1907 w 2416"/>
              <a:gd name="T57" fmla="*/ 1240 h 2209"/>
              <a:gd name="T58" fmla="*/ 2277 w 2416"/>
              <a:gd name="T59" fmla="*/ 1135 h 2209"/>
              <a:gd name="T60" fmla="*/ 2323 w 2416"/>
              <a:gd name="T61" fmla="*/ 506 h 2209"/>
              <a:gd name="T62" fmla="*/ 1781 w 2416"/>
              <a:gd name="T63" fmla="*/ 1200 h 2209"/>
              <a:gd name="T64" fmla="*/ 1773 w 2416"/>
              <a:gd name="T65" fmla="*/ 1172 h 2209"/>
              <a:gd name="T66" fmla="*/ 1585 w 2416"/>
              <a:gd name="T67" fmla="*/ 862 h 2209"/>
              <a:gd name="T68" fmla="*/ 1317 w 2416"/>
              <a:gd name="T69" fmla="*/ 747 h 2209"/>
              <a:gd name="T70" fmla="*/ 907 w 2416"/>
              <a:gd name="T71" fmla="*/ 739 h 2209"/>
              <a:gd name="T72" fmla="*/ 489 w 2416"/>
              <a:gd name="T73" fmla="*/ 831 h 2209"/>
              <a:gd name="T74" fmla="*/ 627 w 2416"/>
              <a:gd name="T75" fmla="*/ 1004 h 2209"/>
              <a:gd name="T76" fmla="*/ 704 w 2416"/>
              <a:gd name="T77" fmla="*/ 1182 h 2209"/>
              <a:gd name="T78" fmla="*/ 704 w 2416"/>
              <a:gd name="T79" fmla="*/ 1183 h 2209"/>
              <a:gd name="T80" fmla="*/ 871 w 2416"/>
              <a:gd name="T81" fmla="*/ 1334 h 2209"/>
              <a:gd name="T82" fmla="*/ 1184 w 2416"/>
              <a:gd name="T83" fmla="*/ 1421 h 2209"/>
              <a:gd name="T84" fmla="*/ 1422 w 2416"/>
              <a:gd name="T85" fmla="*/ 1539 h 2209"/>
              <a:gd name="T86" fmla="*/ 1716 w 2416"/>
              <a:gd name="T87" fmla="*/ 1526 h 2209"/>
              <a:gd name="T88" fmla="*/ 1811 w 2416"/>
              <a:gd name="T89" fmla="*/ 1387 h 2209"/>
              <a:gd name="T90" fmla="*/ 1809 w 2416"/>
              <a:gd name="T91" fmla="*/ 1295 h 2209"/>
              <a:gd name="T92" fmla="*/ 1173 w 2416"/>
              <a:gd name="T93" fmla="*/ 1486 h 2209"/>
              <a:gd name="T94" fmla="*/ 1044 w 2416"/>
              <a:gd name="T95" fmla="*/ 1466 h 2209"/>
              <a:gd name="T96" fmla="*/ 984 w 2416"/>
              <a:gd name="T97" fmla="*/ 1573 h 2209"/>
              <a:gd name="T98" fmla="*/ 809 w 2416"/>
              <a:gd name="T99" fmla="*/ 1794 h 2209"/>
              <a:gd name="T100" fmla="*/ 752 w 2416"/>
              <a:gd name="T101" fmla="*/ 2011 h 2209"/>
              <a:gd name="T102" fmla="*/ 778 w 2416"/>
              <a:gd name="T103" fmla="*/ 2150 h 2209"/>
              <a:gd name="T104" fmla="*/ 880 w 2416"/>
              <a:gd name="T105" fmla="*/ 2177 h 2209"/>
              <a:gd name="T106" fmla="*/ 1012 w 2416"/>
              <a:gd name="T107" fmla="*/ 2005 h 2209"/>
              <a:gd name="T108" fmla="*/ 1226 w 2416"/>
              <a:gd name="T109" fmla="*/ 1733 h 2209"/>
              <a:gd name="T110" fmla="*/ 1245 w 2416"/>
              <a:gd name="T111" fmla="*/ 1541 h 2209"/>
              <a:gd name="T112" fmla="*/ 797 w 2416"/>
              <a:gd name="T113" fmla="*/ 1718 h 2209"/>
              <a:gd name="T114" fmla="*/ 977 w 2416"/>
              <a:gd name="T115" fmla="*/ 1520 h 2209"/>
              <a:gd name="T116" fmla="*/ 831 w 2416"/>
              <a:gd name="T117" fmla="*/ 1386 h 2209"/>
              <a:gd name="T118" fmla="*/ 584 w 2416"/>
              <a:gd name="T119" fmla="*/ 1299 h 2209"/>
              <a:gd name="T120" fmla="*/ 222 w 2416"/>
              <a:gd name="T121" fmla="*/ 1510 h 2209"/>
              <a:gd name="T122" fmla="*/ 569 w 2416"/>
              <a:gd name="T123" fmla="*/ 1809 h 2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416" h="2209">
                <a:moveTo>
                  <a:pt x="387" y="530"/>
                </a:moveTo>
                <a:cubicBezTo>
                  <a:pt x="412" y="587"/>
                  <a:pt x="412" y="651"/>
                  <a:pt x="436" y="708"/>
                </a:cubicBezTo>
                <a:cubicBezTo>
                  <a:pt x="445" y="729"/>
                  <a:pt x="445" y="729"/>
                  <a:pt x="445" y="729"/>
                </a:cubicBezTo>
                <a:cubicBezTo>
                  <a:pt x="454" y="752"/>
                  <a:pt x="490" y="770"/>
                  <a:pt x="524" y="768"/>
                </a:cubicBezTo>
                <a:cubicBezTo>
                  <a:pt x="524" y="768"/>
                  <a:pt x="524" y="768"/>
                  <a:pt x="553" y="767"/>
                </a:cubicBezTo>
                <a:cubicBezTo>
                  <a:pt x="666" y="760"/>
                  <a:pt x="772" y="718"/>
                  <a:pt x="883" y="698"/>
                </a:cubicBezTo>
                <a:cubicBezTo>
                  <a:pt x="954" y="685"/>
                  <a:pt x="1003" y="722"/>
                  <a:pt x="1070" y="733"/>
                </a:cubicBezTo>
                <a:cubicBezTo>
                  <a:pt x="1146" y="746"/>
                  <a:pt x="1215" y="702"/>
                  <a:pt x="1293" y="707"/>
                </a:cubicBezTo>
                <a:cubicBezTo>
                  <a:pt x="1348" y="710"/>
                  <a:pt x="1362" y="715"/>
                  <a:pt x="1362" y="715"/>
                </a:cubicBezTo>
                <a:cubicBezTo>
                  <a:pt x="1391" y="726"/>
                  <a:pt x="1424" y="722"/>
                  <a:pt x="1449" y="702"/>
                </a:cubicBezTo>
                <a:cubicBezTo>
                  <a:pt x="1478" y="678"/>
                  <a:pt x="1478" y="646"/>
                  <a:pt x="1477" y="611"/>
                </a:cubicBezTo>
                <a:cubicBezTo>
                  <a:pt x="1474" y="540"/>
                  <a:pt x="1468" y="462"/>
                  <a:pt x="1429" y="399"/>
                </a:cubicBezTo>
                <a:cubicBezTo>
                  <a:pt x="1401" y="353"/>
                  <a:pt x="1374" y="306"/>
                  <a:pt x="1351" y="256"/>
                </a:cubicBezTo>
                <a:cubicBezTo>
                  <a:pt x="1332" y="215"/>
                  <a:pt x="1322" y="170"/>
                  <a:pt x="1317" y="124"/>
                </a:cubicBezTo>
                <a:cubicBezTo>
                  <a:pt x="1312" y="92"/>
                  <a:pt x="1317" y="40"/>
                  <a:pt x="1281" y="23"/>
                </a:cubicBezTo>
                <a:cubicBezTo>
                  <a:pt x="1229" y="0"/>
                  <a:pt x="1155" y="13"/>
                  <a:pt x="1101" y="21"/>
                </a:cubicBezTo>
                <a:cubicBezTo>
                  <a:pt x="972" y="38"/>
                  <a:pt x="844" y="76"/>
                  <a:pt x="727" y="134"/>
                </a:cubicBezTo>
                <a:cubicBezTo>
                  <a:pt x="660" y="167"/>
                  <a:pt x="596" y="206"/>
                  <a:pt x="536" y="250"/>
                </a:cubicBezTo>
                <a:cubicBezTo>
                  <a:pt x="488" y="285"/>
                  <a:pt x="440" y="319"/>
                  <a:pt x="399" y="362"/>
                </a:cubicBezTo>
                <a:cubicBezTo>
                  <a:pt x="380" y="382"/>
                  <a:pt x="359" y="405"/>
                  <a:pt x="353" y="433"/>
                </a:cubicBezTo>
                <a:cubicBezTo>
                  <a:pt x="346" y="467"/>
                  <a:pt x="367" y="492"/>
                  <a:pt x="381" y="520"/>
                </a:cubicBezTo>
                <a:cubicBezTo>
                  <a:pt x="383" y="523"/>
                  <a:pt x="385" y="527"/>
                  <a:pt x="387" y="530"/>
                </a:cubicBezTo>
                <a:close/>
                <a:moveTo>
                  <a:pt x="355" y="1178"/>
                </a:moveTo>
                <a:cubicBezTo>
                  <a:pt x="385" y="1181"/>
                  <a:pt x="417" y="1193"/>
                  <a:pt x="450" y="1207"/>
                </a:cubicBezTo>
                <a:cubicBezTo>
                  <a:pt x="487" y="1223"/>
                  <a:pt x="524" y="1242"/>
                  <a:pt x="558" y="1255"/>
                </a:cubicBezTo>
                <a:cubicBezTo>
                  <a:pt x="577" y="1263"/>
                  <a:pt x="598" y="1267"/>
                  <a:pt x="617" y="1272"/>
                </a:cubicBezTo>
                <a:cubicBezTo>
                  <a:pt x="635" y="1276"/>
                  <a:pt x="647" y="1281"/>
                  <a:pt x="665" y="1278"/>
                </a:cubicBezTo>
                <a:cubicBezTo>
                  <a:pt x="673" y="1276"/>
                  <a:pt x="684" y="1277"/>
                  <a:pt x="689" y="1270"/>
                </a:cubicBezTo>
                <a:cubicBezTo>
                  <a:pt x="701" y="1256"/>
                  <a:pt x="690" y="1228"/>
                  <a:pt x="680" y="1218"/>
                </a:cubicBezTo>
                <a:cubicBezTo>
                  <a:pt x="670" y="1209"/>
                  <a:pt x="661" y="1200"/>
                  <a:pt x="653" y="1190"/>
                </a:cubicBezTo>
                <a:cubicBezTo>
                  <a:pt x="648" y="1184"/>
                  <a:pt x="643" y="1177"/>
                  <a:pt x="640" y="1169"/>
                </a:cubicBezTo>
                <a:cubicBezTo>
                  <a:pt x="634" y="1156"/>
                  <a:pt x="627" y="1141"/>
                  <a:pt x="626" y="1126"/>
                </a:cubicBezTo>
                <a:cubicBezTo>
                  <a:pt x="625" y="1110"/>
                  <a:pt x="624" y="1097"/>
                  <a:pt x="619" y="1082"/>
                </a:cubicBezTo>
                <a:cubicBezTo>
                  <a:pt x="607" y="1051"/>
                  <a:pt x="583" y="1023"/>
                  <a:pt x="553" y="1010"/>
                </a:cubicBezTo>
                <a:cubicBezTo>
                  <a:pt x="553" y="1010"/>
                  <a:pt x="521" y="997"/>
                  <a:pt x="479" y="944"/>
                </a:cubicBezTo>
                <a:cubicBezTo>
                  <a:pt x="450" y="907"/>
                  <a:pt x="395" y="775"/>
                  <a:pt x="386" y="755"/>
                </a:cubicBezTo>
                <a:cubicBezTo>
                  <a:pt x="364" y="704"/>
                  <a:pt x="374" y="643"/>
                  <a:pt x="356" y="592"/>
                </a:cubicBezTo>
                <a:cubicBezTo>
                  <a:pt x="333" y="526"/>
                  <a:pt x="256" y="534"/>
                  <a:pt x="209" y="573"/>
                </a:cubicBezTo>
                <a:cubicBezTo>
                  <a:pt x="209" y="573"/>
                  <a:pt x="194" y="586"/>
                  <a:pt x="138" y="637"/>
                </a:cubicBezTo>
                <a:cubicBezTo>
                  <a:pt x="94" y="677"/>
                  <a:pt x="73" y="735"/>
                  <a:pt x="48" y="787"/>
                </a:cubicBezTo>
                <a:cubicBezTo>
                  <a:pt x="6" y="879"/>
                  <a:pt x="0" y="959"/>
                  <a:pt x="1" y="1058"/>
                </a:cubicBezTo>
                <a:cubicBezTo>
                  <a:pt x="2" y="1136"/>
                  <a:pt x="54" y="1160"/>
                  <a:pt x="121" y="1190"/>
                </a:cubicBezTo>
                <a:cubicBezTo>
                  <a:pt x="121" y="1190"/>
                  <a:pt x="132" y="1194"/>
                  <a:pt x="176" y="1197"/>
                </a:cubicBezTo>
                <a:cubicBezTo>
                  <a:pt x="235" y="1201"/>
                  <a:pt x="297" y="1172"/>
                  <a:pt x="355" y="1178"/>
                </a:cubicBezTo>
                <a:close/>
                <a:moveTo>
                  <a:pt x="2323" y="506"/>
                </a:moveTo>
                <a:cubicBezTo>
                  <a:pt x="2249" y="371"/>
                  <a:pt x="2134" y="255"/>
                  <a:pt x="2011" y="189"/>
                </a:cubicBezTo>
                <a:cubicBezTo>
                  <a:pt x="1900" y="130"/>
                  <a:pt x="1747" y="56"/>
                  <a:pt x="1622" y="40"/>
                </a:cubicBezTo>
                <a:cubicBezTo>
                  <a:pt x="1540" y="30"/>
                  <a:pt x="1470" y="25"/>
                  <a:pt x="1470" y="25"/>
                </a:cubicBezTo>
                <a:cubicBezTo>
                  <a:pt x="1417" y="21"/>
                  <a:pt x="1369" y="61"/>
                  <a:pt x="1364" y="114"/>
                </a:cubicBezTo>
                <a:cubicBezTo>
                  <a:pt x="1364" y="114"/>
                  <a:pt x="1362" y="137"/>
                  <a:pt x="1383" y="196"/>
                </a:cubicBezTo>
                <a:cubicBezTo>
                  <a:pt x="1409" y="267"/>
                  <a:pt x="1445" y="333"/>
                  <a:pt x="1485" y="398"/>
                </a:cubicBezTo>
                <a:cubicBezTo>
                  <a:pt x="1524" y="460"/>
                  <a:pt x="1530" y="538"/>
                  <a:pt x="1533" y="610"/>
                </a:cubicBezTo>
                <a:cubicBezTo>
                  <a:pt x="1535" y="657"/>
                  <a:pt x="1535" y="657"/>
                  <a:pt x="1535" y="657"/>
                </a:cubicBezTo>
                <a:cubicBezTo>
                  <a:pt x="1520" y="707"/>
                  <a:pt x="1544" y="773"/>
                  <a:pt x="1588" y="803"/>
                </a:cubicBezTo>
                <a:cubicBezTo>
                  <a:pt x="1588" y="803"/>
                  <a:pt x="1613" y="820"/>
                  <a:pt x="1644" y="848"/>
                </a:cubicBezTo>
                <a:cubicBezTo>
                  <a:pt x="1669" y="872"/>
                  <a:pt x="1698" y="902"/>
                  <a:pt x="1722" y="938"/>
                </a:cubicBezTo>
                <a:cubicBezTo>
                  <a:pt x="1755" y="989"/>
                  <a:pt x="1775" y="1050"/>
                  <a:pt x="1797" y="1107"/>
                </a:cubicBezTo>
                <a:cubicBezTo>
                  <a:pt x="1822" y="1173"/>
                  <a:pt x="1827" y="1230"/>
                  <a:pt x="1907" y="1240"/>
                </a:cubicBezTo>
                <a:cubicBezTo>
                  <a:pt x="1980" y="1250"/>
                  <a:pt x="2041" y="1287"/>
                  <a:pt x="2115" y="1256"/>
                </a:cubicBezTo>
                <a:cubicBezTo>
                  <a:pt x="2175" y="1230"/>
                  <a:pt x="2231" y="1180"/>
                  <a:pt x="2277" y="1135"/>
                </a:cubicBezTo>
                <a:cubicBezTo>
                  <a:pt x="2362" y="1050"/>
                  <a:pt x="2402" y="950"/>
                  <a:pt x="2409" y="847"/>
                </a:cubicBezTo>
                <a:cubicBezTo>
                  <a:pt x="2416" y="732"/>
                  <a:pt x="2383" y="613"/>
                  <a:pt x="2323" y="506"/>
                </a:cubicBezTo>
                <a:close/>
                <a:moveTo>
                  <a:pt x="1809" y="1295"/>
                </a:moveTo>
                <a:cubicBezTo>
                  <a:pt x="1803" y="1263"/>
                  <a:pt x="1789" y="1231"/>
                  <a:pt x="1781" y="1200"/>
                </a:cubicBezTo>
                <a:cubicBezTo>
                  <a:pt x="1781" y="1200"/>
                  <a:pt x="1781" y="1200"/>
                  <a:pt x="1774" y="1177"/>
                </a:cubicBezTo>
                <a:cubicBezTo>
                  <a:pt x="1774" y="1176"/>
                  <a:pt x="1773" y="1174"/>
                  <a:pt x="1773" y="1172"/>
                </a:cubicBezTo>
                <a:cubicBezTo>
                  <a:pt x="1752" y="1100"/>
                  <a:pt x="1731" y="1044"/>
                  <a:pt x="1689" y="980"/>
                </a:cubicBezTo>
                <a:cubicBezTo>
                  <a:pt x="1661" y="936"/>
                  <a:pt x="1625" y="896"/>
                  <a:pt x="1585" y="862"/>
                </a:cubicBezTo>
                <a:cubicBezTo>
                  <a:pt x="1552" y="833"/>
                  <a:pt x="1515" y="809"/>
                  <a:pt x="1476" y="790"/>
                </a:cubicBezTo>
                <a:cubicBezTo>
                  <a:pt x="1426" y="766"/>
                  <a:pt x="1372" y="751"/>
                  <a:pt x="1317" y="747"/>
                </a:cubicBezTo>
                <a:cubicBezTo>
                  <a:pt x="1239" y="743"/>
                  <a:pt x="1170" y="787"/>
                  <a:pt x="1094" y="774"/>
                </a:cubicBezTo>
                <a:cubicBezTo>
                  <a:pt x="1027" y="762"/>
                  <a:pt x="978" y="726"/>
                  <a:pt x="907" y="739"/>
                </a:cubicBezTo>
                <a:cubicBezTo>
                  <a:pt x="796" y="758"/>
                  <a:pt x="690" y="801"/>
                  <a:pt x="577" y="807"/>
                </a:cubicBezTo>
                <a:cubicBezTo>
                  <a:pt x="548" y="809"/>
                  <a:pt x="488" y="788"/>
                  <a:pt x="489" y="831"/>
                </a:cubicBezTo>
                <a:cubicBezTo>
                  <a:pt x="489" y="859"/>
                  <a:pt x="535" y="915"/>
                  <a:pt x="553" y="938"/>
                </a:cubicBezTo>
                <a:cubicBezTo>
                  <a:pt x="595" y="991"/>
                  <a:pt x="627" y="1004"/>
                  <a:pt x="627" y="1004"/>
                </a:cubicBezTo>
                <a:cubicBezTo>
                  <a:pt x="676" y="1025"/>
                  <a:pt x="709" y="1085"/>
                  <a:pt x="700" y="1137"/>
                </a:cubicBezTo>
                <a:cubicBezTo>
                  <a:pt x="700" y="1137"/>
                  <a:pt x="699" y="1143"/>
                  <a:pt x="704" y="1182"/>
                </a:cubicBezTo>
                <a:cubicBezTo>
                  <a:pt x="704" y="1182"/>
                  <a:pt x="704" y="1183"/>
                  <a:pt x="704" y="1183"/>
                </a:cubicBezTo>
                <a:cubicBezTo>
                  <a:pt x="704" y="1183"/>
                  <a:pt x="704" y="1183"/>
                  <a:pt x="704" y="1183"/>
                </a:cubicBezTo>
                <a:cubicBezTo>
                  <a:pt x="707" y="1209"/>
                  <a:pt x="734" y="1224"/>
                  <a:pt x="753" y="1238"/>
                </a:cubicBezTo>
                <a:cubicBezTo>
                  <a:pt x="796" y="1269"/>
                  <a:pt x="821" y="1312"/>
                  <a:pt x="871" y="1334"/>
                </a:cubicBezTo>
                <a:cubicBezTo>
                  <a:pt x="921" y="1356"/>
                  <a:pt x="975" y="1374"/>
                  <a:pt x="1030" y="1384"/>
                </a:cubicBezTo>
                <a:cubicBezTo>
                  <a:pt x="1079" y="1393"/>
                  <a:pt x="1143" y="1388"/>
                  <a:pt x="1184" y="1421"/>
                </a:cubicBezTo>
                <a:cubicBezTo>
                  <a:pt x="1223" y="1453"/>
                  <a:pt x="1247" y="1484"/>
                  <a:pt x="1295" y="1503"/>
                </a:cubicBezTo>
                <a:cubicBezTo>
                  <a:pt x="1335" y="1518"/>
                  <a:pt x="1380" y="1527"/>
                  <a:pt x="1422" y="1539"/>
                </a:cubicBezTo>
                <a:cubicBezTo>
                  <a:pt x="1463" y="1552"/>
                  <a:pt x="1502" y="1574"/>
                  <a:pt x="1545" y="1579"/>
                </a:cubicBezTo>
                <a:cubicBezTo>
                  <a:pt x="1608" y="1586"/>
                  <a:pt x="1668" y="1566"/>
                  <a:pt x="1716" y="1526"/>
                </a:cubicBezTo>
                <a:cubicBezTo>
                  <a:pt x="1739" y="1506"/>
                  <a:pt x="1759" y="1483"/>
                  <a:pt x="1775" y="1458"/>
                </a:cubicBezTo>
                <a:cubicBezTo>
                  <a:pt x="1790" y="1436"/>
                  <a:pt x="1806" y="1413"/>
                  <a:pt x="1811" y="1387"/>
                </a:cubicBezTo>
                <a:cubicBezTo>
                  <a:pt x="1816" y="1367"/>
                  <a:pt x="1814" y="1341"/>
                  <a:pt x="1812" y="1320"/>
                </a:cubicBezTo>
                <a:cubicBezTo>
                  <a:pt x="1812" y="1312"/>
                  <a:pt x="1810" y="1304"/>
                  <a:pt x="1809" y="1295"/>
                </a:cubicBezTo>
                <a:close/>
                <a:moveTo>
                  <a:pt x="1174" y="1487"/>
                </a:moveTo>
                <a:cubicBezTo>
                  <a:pt x="1173" y="1486"/>
                  <a:pt x="1173" y="1486"/>
                  <a:pt x="1173" y="1486"/>
                </a:cubicBezTo>
                <a:cubicBezTo>
                  <a:pt x="1149" y="1474"/>
                  <a:pt x="1132" y="1463"/>
                  <a:pt x="1105" y="1460"/>
                </a:cubicBezTo>
                <a:cubicBezTo>
                  <a:pt x="1086" y="1457"/>
                  <a:pt x="1058" y="1447"/>
                  <a:pt x="1044" y="1466"/>
                </a:cubicBezTo>
                <a:cubicBezTo>
                  <a:pt x="1035" y="1479"/>
                  <a:pt x="1028" y="1493"/>
                  <a:pt x="1021" y="1506"/>
                </a:cubicBezTo>
                <a:cubicBezTo>
                  <a:pt x="1009" y="1528"/>
                  <a:pt x="998" y="1552"/>
                  <a:pt x="984" y="1573"/>
                </a:cubicBezTo>
                <a:cubicBezTo>
                  <a:pt x="956" y="1616"/>
                  <a:pt x="925" y="1656"/>
                  <a:pt x="892" y="1695"/>
                </a:cubicBezTo>
                <a:cubicBezTo>
                  <a:pt x="866" y="1726"/>
                  <a:pt x="825" y="1756"/>
                  <a:pt x="809" y="1794"/>
                </a:cubicBezTo>
                <a:cubicBezTo>
                  <a:pt x="793" y="1830"/>
                  <a:pt x="802" y="1871"/>
                  <a:pt x="789" y="1907"/>
                </a:cubicBezTo>
                <a:cubicBezTo>
                  <a:pt x="776" y="1941"/>
                  <a:pt x="762" y="1975"/>
                  <a:pt x="752" y="2011"/>
                </a:cubicBezTo>
                <a:cubicBezTo>
                  <a:pt x="743" y="2043"/>
                  <a:pt x="720" y="2102"/>
                  <a:pt x="735" y="2135"/>
                </a:cubicBezTo>
                <a:cubicBezTo>
                  <a:pt x="746" y="2160"/>
                  <a:pt x="754" y="2153"/>
                  <a:pt x="778" y="2150"/>
                </a:cubicBezTo>
                <a:cubicBezTo>
                  <a:pt x="811" y="2145"/>
                  <a:pt x="847" y="2145"/>
                  <a:pt x="872" y="2170"/>
                </a:cubicBezTo>
                <a:cubicBezTo>
                  <a:pt x="880" y="2177"/>
                  <a:pt x="880" y="2177"/>
                  <a:pt x="880" y="2177"/>
                </a:cubicBezTo>
                <a:cubicBezTo>
                  <a:pt x="895" y="2209"/>
                  <a:pt x="926" y="2196"/>
                  <a:pt x="948" y="2148"/>
                </a:cubicBezTo>
                <a:cubicBezTo>
                  <a:pt x="948" y="2148"/>
                  <a:pt x="979" y="2082"/>
                  <a:pt x="1012" y="2005"/>
                </a:cubicBezTo>
                <a:cubicBezTo>
                  <a:pt x="1044" y="1930"/>
                  <a:pt x="1099" y="1861"/>
                  <a:pt x="1154" y="1801"/>
                </a:cubicBezTo>
                <a:cubicBezTo>
                  <a:pt x="1177" y="1776"/>
                  <a:pt x="1206" y="1761"/>
                  <a:pt x="1226" y="1733"/>
                </a:cubicBezTo>
                <a:cubicBezTo>
                  <a:pt x="1248" y="1702"/>
                  <a:pt x="1265" y="1664"/>
                  <a:pt x="1267" y="1625"/>
                </a:cubicBezTo>
                <a:cubicBezTo>
                  <a:pt x="1269" y="1596"/>
                  <a:pt x="1263" y="1564"/>
                  <a:pt x="1245" y="1541"/>
                </a:cubicBezTo>
                <a:cubicBezTo>
                  <a:pt x="1226" y="1515"/>
                  <a:pt x="1202" y="1501"/>
                  <a:pt x="1174" y="1487"/>
                </a:cubicBezTo>
                <a:close/>
                <a:moveTo>
                  <a:pt x="797" y="1718"/>
                </a:moveTo>
                <a:cubicBezTo>
                  <a:pt x="838" y="1673"/>
                  <a:pt x="878" y="1628"/>
                  <a:pt x="919" y="1583"/>
                </a:cubicBezTo>
                <a:cubicBezTo>
                  <a:pt x="935" y="1566"/>
                  <a:pt x="962" y="1543"/>
                  <a:pt x="977" y="1520"/>
                </a:cubicBezTo>
                <a:cubicBezTo>
                  <a:pt x="981" y="1515"/>
                  <a:pt x="984" y="1510"/>
                  <a:pt x="986" y="1504"/>
                </a:cubicBezTo>
                <a:cubicBezTo>
                  <a:pt x="1012" y="1431"/>
                  <a:pt x="881" y="1406"/>
                  <a:pt x="831" y="1386"/>
                </a:cubicBezTo>
                <a:cubicBezTo>
                  <a:pt x="782" y="1366"/>
                  <a:pt x="699" y="1338"/>
                  <a:pt x="649" y="1322"/>
                </a:cubicBezTo>
                <a:cubicBezTo>
                  <a:pt x="649" y="1322"/>
                  <a:pt x="623" y="1314"/>
                  <a:pt x="584" y="1299"/>
                </a:cubicBezTo>
                <a:cubicBezTo>
                  <a:pt x="473" y="1257"/>
                  <a:pt x="194" y="1132"/>
                  <a:pt x="183" y="1346"/>
                </a:cubicBezTo>
                <a:cubicBezTo>
                  <a:pt x="180" y="1402"/>
                  <a:pt x="206" y="1458"/>
                  <a:pt x="222" y="1510"/>
                </a:cubicBezTo>
                <a:cubicBezTo>
                  <a:pt x="253" y="1611"/>
                  <a:pt x="320" y="1720"/>
                  <a:pt x="409" y="1779"/>
                </a:cubicBezTo>
                <a:cubicBezTo>
                  <a:pt x="458" y="1811"/>
                  <a:pt x="512" y="1813"/>
                  <a:pt x="569" y="1809"/>
                </a:cubicBezTo>
                <a:cubicBezTo>
                  <a:pt x="666" y="1800"/>
                  <a:pt x="729" y="1795"/>
                  <a:pt x="797" y="1718"/>
                </a:cubicBezTo>
                <a:close/>
              </a:path>
            </a:pathLst>
          </a:custGeom>
          <a:solidFill>
            <a:srgbClr val="0078D7"/>
          </a:solidFill>
          <a:ln>
            <a:noFill/>
          </a:ln>
        </p:spPr>
        <p:txBody>
          <a:bodyPr vert="horz" wrap="square" lIns="109725" tIns="54863" rIns="109725" bIns="54863" numCol="1" anchor="t" anchorCtr="0" compatLnSpc="1">
            <a:prstTxWarp prst="textNoShape">
              <a:avLst/>
            </a:prstTxWarp>
          </a:bodyPr>
          <a:lstStyle/>
          <a:p>
            <a:pPr defTabSz="1218935">
              <a:defRPr/>
            </a:pPr>
            <a:endParaRPr lang="en-US" sz="2132" kern="0" dirty="0">
              <a:solidFill>
                <a:srgbClr val="FFFFFF"/>
              </a:solidFill>
            </a:endParaRPr>
          </a:p>
        </p:txBody>
      </p:sp>
      <p:sp>
        <p:nvSpPr>
          <p:cNvPr id="25" name="Freeform: Shape 24"/>
          <p:cNvSpPr/>
          <p:nvPr/>
        </p:nvSpPr>
        <p:spPr>
          <a:xfrm>
            <a:off x="7039359" y="4702533"/>
            <a:ext cx="666565" cy="477828"/>
          </a:xfrm>
          <a:custGeom>
            <a:avLst/>
            <a:gdLst>
              <a:gd name="connsiteX0" fmla="*/ 185248 w 5508812"/>
              <a:gd name="connsiteY0" fmla="*/ 684910 h 3948988"/>
              <a:gd name="connsiteX1" fmla="*/ 123790 w 5508812"/>
              <a:gd name="connsiteY1" fmla="*/ 746369 h 3948988"/>
              <a:gd name="connsiteX2" fmla="*/ 123790 w 5508812"/>
              <a:gd name="connsiteY2" fmla="*/ 3751115 h 3948988"/>
              <a:gd name="connsiteX3" fmla="*/ 185248 w 5508812"/>
              <a:gd name="connsiteY3" fmla="*/ 3812574 h 3948988"/>
              <a:gd name="connsiteX4" fmla="*/ 5323548 w 5508812"/>
              <a:gd name="connsiteY4" fmla="*/ 3812574 h 3948988"/>
              <a:gd name="connsiteX5" fmla="*/ 5385006 w 5508812"/>
              <a:gd name="connsiteY5" fmla="*/ 3751115 h 3948988"/>
              <a:gd name="connsiteX6" fmla="*/ 5385006 w 5508812"/>
              <a:gd name="connsiteY6" fmla="*/ 746369 h 3948988"/>
              <a:gd name="connsiteX7" fmla="*/ 5323548 w 5508812"/>
              <a:gd name="connsiteY7" fmla="*/ 684910 h 3948988"/>
              <a:gd name="connsiteX8" fmla="*/ 3850847 w 5508812"/>
              <a:gd name="connsiteY8" fmla="*/ 463091 h 3948988"/>
              <a:gd name="connsiteX9" fmla="*/ 3850847 w 5508812"/>
              <a:gd name="connsiteY9" fmla="*/ 542369 h 3948988"/>
              <a:gd name="connsiteX10" fmla="*/ 4144426 w 5508812"/>
              <a:gd name="connsiteY10" fmla="*/ 542369 h 3948988"/>
              <a:gd name="connsiteX11" fmla="*/ 4144426 w 5508812"/>
              <a:gd name="connsiteY11" fmla="*/ 463091 h 3948988"/>
              <a:gd name="connsiteX12" fmla="*/ 4363479 w 5508812"/>
              <a:gd name="connsiteY12" fmla="*/ 342189 h 3948988"/>
              <a:gd name="connsiteX13" fmla="*/ 4635373 w 5508812"/>
              <a:gd name="connsiteY13" fmla="*/ 342189 h 3948988"/>
              <a:gd name="connsiteX14" fmla="*/ 4635373 w 5508812"/>
              <a:gd name="connsiteY14" fmla="*/ 493227 h 3948988"/>
              <a:gd name="connsiteX15" fmla="*/ 4363479 w 5508812"/>
              <a:gd name="connsiteY15" fmla="*/ 493227 h 3948988"/>
              <a:gd name="connsiteX16" fmla="*/ 4937691 w 5508812"/>
              <a:gd name="connsiteY16" fmla="*/ 271324 h 3948988"/>
              <a:gd name="connsiteX17" fmla="*/ 4897543 w 5508812"/>
              <a:gd name="connsiteY17" fmla="*/ 311472 h 3948988"/>
              <a:gd name="connsiteX18" fmla="*/ 4994310 w 5508812"/>
              <a:gd name="connsiteY18" fmla="*/ 408239 h 3948988"/>
              <a:gd name="connsiteX19" fmla="*/ 4897543 w 5508812"/>
              <a:gd name="connsiteY19" fmla="*/ 505005 h 3948988"/>
              <a:gd name="connsiteX20" fmla="*/ 4937691 w 5508812"/>
              <a:gd name="connsiteY20" fmla="*/ 545153 h 3948988"/>
              <a:gd name="connsiteX21" fmla="*/ 5034458 w 5508812"/>
              <a:gd name="connsiteY21" fmla="*/ 448386 h 3948988"/>
              <a:gd name="connsiteX22" fmla="*/ 5131224 w 5508812"/>
              <a:gd name="connsiteY22" fmla="*/ 545153 h 3948988"/>
              <a:gd name="connsiteX23" fmla="*/ 5171372 w 5508812"/>
              <a:gd name="connsiteY23" fmla="*/ 505005 h 3948988"/>
              <a:gd name="connsiteX24" fmla="*/ 5074605 w 5508812"/>
              <a:gd name="connsiteY24" fmla="*/ 408239 h 3948988"/>
              <a:gd name="connsiteX25" fmla="*/ 5171372 w 5508812"/>
              <a:gd name="connsiteY25" fmla="*/ 311472 h 3948988"/>
              <a:gd name="connsiteX26" fmla="*/ 5131224 w 5508812"/>
              <a:gd name="connsiteY26" fmla="*/ 271324 h 3948988"/>
              <a:gd name="connsiteX27" fmla="*/ 5034458 w 5508812"/>
              <a:gd name="connsiteY27" fmla="*/ 368091 h 3948988"/>
              <a:gd name="connsiteX28" fmla="*/ 4321755 w 5508812"/>
              <a:gd name="connsiteY28" fmla="*/ 264914 h 3948988"/>
              <a:gd name="connsiteX29" fmla="*/ 4321755 w 5508812"/>
              <a:gd name="connsiteY29" fmla="*/ 542369 h 3948988"/>
              <a:gd name="connsiteX30" fmla="*/ 4677097 w 5508812"/>
              <a:gd name="connsiteY30" fmla="*/ 542369 h 3948988"/>
              <a:gd name="connsiteX31" fmla="*/ 4677097 w 5508812"/>
              <a:gd name="connsiteY31" fmla="*/ 264914 h 3948988"/>
              <a:gd name="connsiteX32" fmla="*/ 0 w 5508812"/>
              <a:gd name="connsiteY32" fmla="*/ 0 h 3948988"/>
              <a:gd name="connsiteX33" fmla="*/ 5508812 w 5508812"/>
              <a:gd name="connsiteY33" fmla="*/ 0 h 3948988"/>
              <a:gd name="connsiteX34" fmla="*/ 5508812 w 5508812"/>
              <a:gd name="connsiteY34" fmla="*/ 3948988 h 3948988"/>
              <a:gd name="connsiteX35" fmla="*/ 8 w 5508812"/>
              <a:gd name="connsiteY35" fmla="*/ 3948988 h 3948988"/>
              <a:gd name="connsiteX36" fmla="*/ 0 w 5508812"/>
              <a:gd name="connsiteY36" fmla="*/ 0 h 3948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5508812" h="3948988">
                <a:moveTo>
                  <a:pt x="185248" y="684910"/>
                </a:moveTo>
                <a:cubicBezTo>
                  <a:pt x="151304" y="684910"/>
                  <a:pt x="123790" y="712425"/>
                  <a:pt x="123790" y="746369"/>
                </a:cubicBezTo>
                <a:lnTo>
                  <a:pt x="123790" y="3751115"/>
                </a:lnTo>
                <a:cubicBezTo>
                  <a:pt x="123790" y="3785059"/>
                  <a:pt x="151304" y="3812574"/>
                  <a:pt x="185248" y="3812574"/>
                </a:cubicBezTo>
                <a:lnTo>
                  <a:pt x="5323548" y="3812574"/>
                </a:lnTo>
                <a:cubicBezTo>
                  <a:pt x="5357492" y="3812574"/>
                  <a:pt x="5385006" y="3785059"/>
                  <a:pt x="5385006" y="3751115"/>
                </a:cubicBezTo>
                <a:lnTo>
                  <a:pt x="5385006" y="746369"/>
                </a:lnTo>
                <a:cubicBezTo>
                  <a:pt x="5385006" y="712425"/>
                  <a:pt x="5357492" y="684910"/>
                  <a:pt x="5323548" y="684910"/>
                </a:cubicBezTo>
                <a:close/>
                <a:moveTo>
                  <a:pt x="3850847" y="463091"/>
                </a:moveTo>
                <a:lnTo>
                  <a:pt x="3850847" y="542369"/>
                </a:lnTo>
                <a:lnTo>
                  <a:pt x="4144426" y="542369"/>
                </a:lnTo>
                <a:lnTo>
                  <a:pt x="4144426" y="463091"/>
                </a:lnTo>
                <a:close/>
                <a:moveTo>
                  <a:pt x="4363479" y="342189"/>
                </a:moveTo>
                <a:lnTo>
                  <a:pt x="4635373" y="342189"/>
                </a:lnTo>
                <a:lnTo>
                  <a:pt x="4635373" y="493227"/>
                </a:lnTo>
                <a:lnTo>
                  <a:pt x="4363479" y="493227"/>
                </a:lnTo>
                <a:close/>
                <a:moveTo>
                  <a:pt x="4937691" y="271324"/>
                </a:moveTo>
                <a:lnTo>
                  <a:pt x="4897543" y="311472"/>
                </a:lnTo>
                <a:lnTo>
                  <a:pt x="4994310" y="408239"/>
                </a:lnTo>
                <a:lnTo>
                  <a:pt x="4897543" y="505005"/>
                </a:lnTo>
                <a:lnTo>
                  <a:pt x="4937691" y="545153"/>
                </a:lnTo>
                <a:lnTo>
                  <a:pt x="5034458" y="448386"/>
                </a:lnTo>
                <a:lnTo>
                  <a:pt x="5131224" y="545153"/>
                </a:lnTo>
                <a:lnTo>
                  <a:pt x="5171372" y="505005"/>
                </a:lnTo>
                <a:lnTo>
                  <a:pt x="5074605" y="408239"/>
                </a:lnTo>
                <a:lnTo>
                  <a:pt x="5171372" y="311472"/>
                </a:lnTo>
                <a:lnTo>
                  <a:pt x="5131224" y="271324"/>
                </a:lnTo>
                <a:lnTo>
                  <a:pt x="5034458" y="368091"/>
                </a:lnTo>
                <a:close/>
                <a:moveTo>
                  <a:pt x="4321755" y="264914"/>
                </a:moveTo>
                <a:lnTo>
                  <a:pt x="4321755" y="542369"/>
                </a:lnTo>
                <a:lnTo>
                  <a:pt x="4677097" y="542369"/>
                </a:lnTo>
                <a:lnTo>
                  <a:pt x="4677097" y="264914"/>
                </a:lnTo>
                <a:close/>
                <a:moveTo>
                  <a:pt x="0" y="0"/>
                </a:moveTo>
                <a:lnTo>
                  <a:pt x="5508812" y="0"/>
                </a:lnTo>
                <a:lnTo>
                  <a:pt x="5508812" y="3948988"/>
                </a:lnTo>
                <a:lnTo>
                  <a:pt x="8" y="3948988"/>
                </a:lnTo>
                <a:cubicBezTo>
                  <a:pt x="5" y="2632659"/>
                  <a:pt x="3" y="1316329"/>
                  <a:pt x="0" y="0"/>
                </a:cubicBezTo>
                <a:close/>
              </a:path>
            </a:pathLst>
          </a:cu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32418">
              <a:defRPr/>
            </a:pPr>
            <a:endParaRPr lang="en-US" sz="1836" kern="0" dirty="0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557638" y="4800688"/>
            <a:ext cx="515199" cy="461665"/>
          </a:xfrm>
          <a:prstGeom prst="rect">
            <a:avLst/>
          </a:prstGeom>
          <a:ln>
            <a:noFill/>
          </a:ln>
        </p:spPr>
        <p:txBody>
          <a:bodyPr wrap="none" lIns="45713">
            <a:spAutoFit/>
          </a:bodyPr>
          <a:lstStyle/>
          <a:p>
            <a:pPr defTabSz="914225">
              <a:spcAft>
                <a:spcPts val="200"/>
              </a:spcAft>
              <a:defRPr/>
            </a:pPr>
            <a:r>
              <a:rPr lang="en-US" sz="800" kern="0" dirty="0">
                <a:solidFill>
                  <a:srgbClr val="0078D7"/>
                </a:solidFill>
                <a:latin typeface="Segoe UI Semibold" charset="0"/>
                <a:ea typeface="Segoe UI Semibold" charset="0"/>
                <a:cs typeface="Segoe UI Semibold" charset="0"/>
              </a:rPr>
              <a:t>Python, </a:t>
            </a:r>
            <a:br>
              <a:rPr lang="en-US" sz="800" kern="0" dirty="0">
                <a:solidFill>
                  <a:srgbClr val="0078D7"/>
                </a:solidFill>
                <a:latin typeface="Segoe UI Semibold" charset="0"/>
                <a:ea typeface="Segoe UI Semibold" charset="0"/>
                <a:cs typeface="Segoe UI Semibold" charset="0"/>
              </a:rPr>
            </a:br>
            <a:r>
              <a:rPr lang="en-US" sz="800" kern="0" dirty="0">
                <a:solidFill>
                  <a:srgbClr val="0078D7"/>
                </a:solidFill>
                <a:latin typeface="Segoe UI Semibold" charset="0"/>
                <a:ea typeface="Segoe UI Semibold" charset="0"/>
                <a:cs typeface="Segoe UI Semibold" charset="0"/>
              </a:rPr>
              <a:t>Ruby, …</a:t>
            </a:r>
            <a:br>
              <a:rPr lang="en-US" sz="800" kern="0" dirty="0">
                <a:solidFill>
                  <a:srgbClr val="0078D7"/>
                </a:solidFill>
                <a:latin typeface="Segoe UI Semibold" charset="0"/>
                <a:ea typeface="Segoe UI Semibold" charset="0"/>
                <a:cs typeface="Segoe UI Semibold" charset="0"/>
              </a:rPr>
            </a:br>
            <a:endParaRPr lang="en-US" sz="800" kern="0" dirty="0">
              <a:solidFill>
                <a:srgbClr val="0078D7"/>
              </a:solidFill>
              <a:latin typeface="Segoe UI Semibold" charset="0"/>
              <a:ea typeface="Segoe UI Semibold" charset="0"/>
              <a:cs typeface="Segoe UI Semibold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42548" y="5595820"/>
            <a:ext cx="463496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225">
              <a:defRPr/>
            </a:pPr>
            <a:r>
              <a:rPr lang="en-US" sz="1400" dirty="0">
                <a:solidFill>
                  <a:srgbClr val="505050"/>
                </a:solidFill>
                <a:cs typeface="Segoe UI Semilight" panose="020B0402040204020203" pitchFamily="34" charset="0"/>
              </a:rPr>
              <a:t>20,000 applications for the SQL Server on Linux private preview program, including more than 55% of Fortune 500 companies.</a:t>
            </a:r>
            <a:endParaRPr lang="en-US" sz="1400" dirty="0">
              <a:solidFill>
                <a:srgbClr val="505050"/>
              </a:solidFill>
              <a:latin typeface="Segoe UI Light" charset="0"/>
              <a:ea typeface="Segoe UI Light" charset="0"/>
              <a:cs typeface="Segoe UI Light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7071682" y="340769"/>
            <a:ext cx="1079697" cy="910156"/>
            <a:chOff x="6552829" y="173652"/>
            <a:chExt cx="1161501" cy="979116"/>
          </a:xfrm>
        </p:grpSpPr>
        <p:grpSp>
          <p:nvGrpSpPr>
            <p:cNvPr id="109" name="Group 108"/>
            <p:cNvGrpSpPr/>
            <p:nvPr/>
          </p:nvGrpSpPr>
          <p:grpSpPr>
            <a:xfrm>
              <a:off x="6806100" y="173652"/>
              <a:ext cx="908230" cy="398290"/>
              <a:chOff x="4526493" y="1844403"/>
              <a:chExt cx="1746715" cy="765999"/>
            </a:xfrm>
          </p:grpSpPr>
          <p:grpSp>
            <p:nvGrpSpPr>
              <p:cNvPr id="110" name="Group 109"/>
              <p:cNvGrpSpPr/>
              <p:nvPr/>
            </p:nvGrpSpPr>
            <p:grpSpPr>
              <a:xfrm>
                <a:off x="4526493" y="1844403"/>
                <a:ext cx="1746715" cy="765999"/>
                <a:chOff x="4391082" y="1855071"/>
                <a:chExt cx="2250042" cy="765998"/>
              </a:xfrm>
            </p:grpSpPr>
            <p:sp>
              <p:nvSpPr>
                <p:cNvPr id="117" name="Chevron 116"/>
                <p:cNvSpPr/>
                <p:nvPr/>
              </p:nvSpPr>
              <p:spPr>
                <a:xfrm rot="10800000">
                  <a:off x="6319876" y="1937565"/>
                  <a:ext cx="321248" cy="683504"/>
                </a:xfrm>
                <a:prstGeom prst="chevron">
                  <a:avLst>
                    <a:gd name="adj" fmla="val 16319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225"/>
                  <a:endParaRPr lang="en-US" sz="1400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18" name="Chevron 117"/>
                <p:cNvSpPr/>
                <p:nvPr/>
              </p:nvSpPr>
              <p:spPr>
                <a:xfrm rot="10800000">
                  <a:off x="6434676" y="1970238"/>
                  <a:ext cx="161605" cy="616244"/>
                </a:xfrm>
                <a:prstGeom prst="chevron">
                  <a:avLst>
                    <a:gd name="adj" fmla="val 28689"/>
                  </a:avLst>
                </a:prstGeom>
                <a:solidFill>
                  <a:srgbClr val="0067C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225"/>
                  <a:endParaRPr lang="en-US" sz="1400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19" name="Parallelogram 118"/>
                <p:cNvSpPr/>
                <p:nvPr/>
              </p:nvSpPr>
              <p:spPr>
                <a:xfrm>
                  <a:off x="5869117" y="1937565"/>
                  <a:ext cx="673294" cy="683504"/>
                </a:xfrm>
                <a:prstGeom prst="parallelogram">
                  <a:avLst>
                    <a:gd name="adj" fmla="val 14922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225"/>
                  <a:endParaRPr lang="en-US" sz="1400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0" name="Parallelogram 119"/>
                <p:cNvSpPr/>
                <p:nvPr/>
              </p:nvSpPr>
              <p:spPr>
                <a:xfrm>
                  <a:off x="5874803" y="1970238"/>
                  <a:ext cx="716817" cy="616391"/>
                </a:xfrm>
                <a:prstGeom prst="parallelogram">
                  <a:avLst>
                    <a:gd name="adj" fmla="val 14922"/>
                  </a:avLst>
                </a:prstGeom>
                <a:solidFill>
                  <a:srgbClr val="0067C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225"/>
                  <a:endParaRPr lang="en-US" sz="1400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1" name="Freeform 120"/>
                <p:cNvSpPr/>
                <p:nvPr/>
              </p:nvSpPr>
              <p:spPr>
                <a:xfrm>
                  <a:off x="5851710" y="2528071"/>
                  <a:ext cx="549074" cy="91123"/>
                </a:xfrm>
                <a:custGeom>
                  <a:avLst/>
                  <a:gdLst>
                    <a:gd name="connsiteX0" fmla="*/ 746125 w 746125"/>
                    <a:gd name="connsiteY0" fmla="*/ 25400 h 304800"/>
                    <a:gd name="connsiteX1" fmla="*/ 0 w 746125"/>
                    <a:gd name="connsiteY1" fmla="*/ 304800 h 304800"/>
                    <a:gd name="connsiteX2" fmla="*/ 50800 w 746125"/>
                    <a:gd name="connsiteY2" fmla="*/ 0 h 304800"/>
                    <a:gd name="connsiteX3" fmla="*/ 746125 w 746125"/>
                    <a:gd name="connsiteY3" fmla="*/ 25400 h 304800"/>
                    <a:gd name="connsiteX0" fmla="*/ 746125 w 746125"/>
                    <a:gd name="connsiteY0" fmla="*/ 25400 h 304800"/>
                    <a:gd name="connsiteX1" fmla="*/ 0 w 746125"/>
                    <a:gd name="connsiteY1" fmla="*/ 304800 h 304800"/>
                    <a:gd name="connsiteX2" fmla="*/ 31750 w 746125"/>
                    <a:gd name="connsiteY2" fmla="*/ 0 h 304800"/>
                    <a:gd name="connsiteX3" fmla="*/ 746125 w 746125"/>
                    <a:gd name="connsiteY3" fmla="*/ 25400 h 304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6125" h="304800">
                      <a:moveTo>
                        <a:pt x="746125" y="25400"/>
                      </a:moveTo>
                      <a:lnTo>
                        <a:pt x="0" y="304800"/>
                      </a:lnTo>
                      <a:lnTo>
                        <a:pt x="31750" y="0"/>
                      </a:lnTo>
                      <a:lnTo>
                        <a:pt x="746125" y="2540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225"/>
                  <a:endParaRPr lang="en-US" sz="1400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2" name="Parallelogram 121"/>
                <p:cNvSpPr/>
                <p:nvPr/>
              </p:nvSpPr>
              <p:spPr>
                <a:xfrm>
                  <a:off x="4391082" y="1855071"/>
                  <a:ext cx="2125466" cy="683505"/>
                </a:xfrm>
                <a:prstGeom prst="parallelogram">
                  <a:avLst>
                    <a:gd name="adj" fmla="val 14922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225"/>
                  <a:endParaRPr lang="en-US" sz="1400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3" name="Parallelogram 122"/>
                <p:cNvSpPr/>
                <p:nvPr/>
              </p:nvSpPr>
              <p:spPr>
                <a:xfrm>
                  <a:off x="4458085" y="1887746"/>
                  <a:ext cx="2058463" cy="616389"/>
                </a:xfrm>
                <a:prstGeom prst="parallelogram">
                  <a:avLst>
                    <a:gd name="adj" fmla="val 14922"/>
                  </a:avLst>
                </a:prstGeom>
                <a:solidFill>
                  <a:srgbClr val="0077D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225"/>
                  <a:endParaRPr lang="en-US" sz="1400" dirty="0">
                    <a:solidFill>
                      <a:srgbClr val="0078D7"/>
                    </a:solidFill>
                  </a:endParaRPr>
                </a:p>
              </p:txBody>
            </p:sp>
          </p:grpSp>
          <p:sp>
            <p:nvSpPr>
              <p:cNvPr id="112" name="Content Placeholder 2"/>
              <p:cNvSpPr txBox="1">
                <a:spLocks/>
              </p:cNvSpPr>
              <p:nvPr/>
            </p:nvSpPr>
            <p:spPr>
              <a:xfrm>
                <a:off x="4755474" y="2094293"/>
                <a:ext cx="1136566" cy="203732"/>
              </a:xfrm>
              <a:prstGeom prst="rect">
                <a:avLst/>
              </a:prstGeom>
            </p:spPr>
            <p:txBody>
              <a:bodyPr lIns="91427" tIns="0" rIns="0" bIns="0" anchor="ctr">
                <a:noAutofit/>
              </a:bodyPr>
              <a:lstStyle>
                <a:lvl1pPr marL="251460" indent="-251460" algn="l" defTabSz="1005840" rtl="0" eaLnBrk="1" latinLnBrk="0" hangingPunct="1">
                  <a:lnSpc>
                    <a:spcPct val="90000"/>
                  </a:lnSpc>
                  <a:spcBef>
                    <a:spcPts val="1100"/>
                  </a:spcBef>
                  <a:buFont typeface="Arial" panose="020B0604020202020204" pitchFamily="34" charset="0"/>
                  <a:buChar char="•"/>
                  <a:defRPr sz="308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54380" indent="-251460" algn="l" defTabSz="1005840" rtl="0" eaLnBrk="1" latinLnBrk="0" hangingPunct="1">
                  <a:lnSpc>
                    <a:spcPct val="90000"/>
                  </a:lnSpc>
                  <a:spcBef>
                    <a:spcPts val="550"/>
                  </a:spcBef>
                  <a:buFont typeface="Arial" panose="020B0604020202020204" pitchFamily="34" charset="0"/>
                  <a:buChar char="•"/>
                  <a:defRPr sz="264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57300" indent="-251460" algn="l" defTabSz="1005840" rtl="0" eaLnBrk="1" latinLnBrk="0" hangingPunct="1">
                  <a:lnSpc>
                    <a:spcPct val="90000"/>
                  </a:lnSpc>
                  <a:spcBef>
                    <a:spcPts val="550"/>
                  </a:spcBef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760220" indent="-251460" algn="l" defTabSz="1005840" rtl="0" eaLnBrk="1" latinLnBrk="0" hangingPunct="1">
                  <a:lnSpc>
                    <a:spcPct val="90000"/>
                  </a:lnSpc>
                  <a:spcBef>
                    <a:spcPts val="550"/>
                  </a:spcBef>
                  <a:buFont typeface="Arial" panose="020B0604020202020204" pitchFamily="34" charset="0"/>
                  <a:buChar char="•"/>
                  <a:defRPr sz="198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63140" indent="-251460" algn="l" defTabSz="1005840" rtl="0" eaLnBrk="1" latinLnBrk="0" hangingPunct="1">
                  <a:lnSpc>
                    <a:spcPct val="90000"/>
                  </a:lnSpc>
                  <a:spcBef>
                    <a:spcPts val="550"/>
                  </a:spcBef>
                  <a:buFont typeface="Arial" panose="020B0604020202020204" pitchFamily="34" charset="0"/>
                  <a:buChar char="•"/>
                  <a:defRPr sz="198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66060" indent="-251460" algn="l" defTabSz="1005840" rtl="0" eaLnBrk="1" latinLnBrk="0" hangingPunct="1">
                  <a:lnSpc>
                    <a:spcPct val="90000"/>
                  </a:lnSpc>
                  <a:spcBef>
                    <a:spcPts val="550"/>
                  </a:spcBef>
                  <a:buFont typeface="Arial" panose="020B0604020202020204" pitchFamily="34" charset="0"/>
                  <a:buChar char="•"/>
                  <a:defRPr sz="198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68980" indent="-251460" algn="l" defTabSz="1005840" rtl="0" eaLnBrk="1" latinLnBrk="0" hangingPunct="1">
                  <a:lnSpc>
                    <a:spcPct val="90000"/>
                  </a:lnSpc>
                  <a:spcBef>
                    <a:spcPts val="550"/>
                  </a:spcBef>
                  <a:buFont typeface="Arial" panose="020B0604020202020204" pitchFamily="34" charset="0"/>
                  <a:buChar char="•"/>
                  <a:defRPr sz="198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771900" indent="-251460" algn="l" defTabSz="1005840" rtl="0" eaLnBrk="1" latinLnBrk="0" hangingPunct="1">
                  <a:lnSpc>
                    <a:spcPct val="90000"/>
                  </a:lnSpc>
                  <a:spcBef>
                    <a:spcPts val="550"/>
                  </a:spcBef>
                  <a:buFont typeface="Arial" panose="020B0604020202020204" pitchFamily="34" charset="0"/>
                  <a:buChar char="•"/>
                  <a:defRPr sz="198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274820" indent="-251460" algn="l" defTabSz="1005840" rtl="0" eaLnBrk="1" latinLnBrk="0" hangingPunct="1">
                  <a:lnSpc>
                    <a:spcPct val="90000"/>
                  </a:lnSpc>
                  <a:spcBef>
                    <a:spcPts val="550"/>
                  </a:spcBef>
                  <a:buFont typeface="Arial" panose="020B0604020202020204" pitchFamily="34" charset="0"/>
                  <a:buChar char="•"/>
                  <a:defRPr sz="198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defTabSz="1005647">
                  <a:spcBef>
                    <a:spcPts val="0"/>
                  </a:spcBef>
                  <a:spcAft>
                    <a:spcPts val="1765"/>
                  </a:spcAft>
                  <a:buClr>
                    <a:prstClr val="white"/>
                  </a:buClr>
                  <a:buNone/>
                </a:pPr>
                <a:r>
                  <a:rPr lang="en-US" sz="1400" b="1" cap="all" dirty="0">
                    <a:solidFill>
                      <a:prstClr val="white"/>
                    </a:solidFill>
                    <a:ea typeface="Segoe UI" charset="0"/>
                    <a:cs typeface="Segoe UI" charset="0"/>
                  </a:rPr>
                  <a:t>NEW</a:t>
                </a:r>
              </a:p>
            </p:txBody>
          </p:sp>
        </p:grpSp>
        <p:grpSp>
          <p:nvGrpSpPr>
            <p:cNvPr id="76" name="Group 75"/>
            <p:cNvGrpSpPr/>
            <p:nvPr/>
          </p:nvGrpSpPr>
          <p:grpSpPr>
            <a:xfrm>
              <a:off x="6552829" y="370848"/>
              <a:ext cx="656092" cy="781920"/>
              <a:chOff x="1811338" y="2714625"/>
              <a:chExt cx="2897187" cy="3452813"/>
            </a:xfrm>
            <a:solidFill>
              <a:schemeClr val="bg1"/>
            </a:solidFill>
          </p:grpSpPr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2298700" y="3394075"/>
                <a:ext cx="1931988" cy="2565400"/>
              </a:xfrm>
              <a:custGeom>
                <a:avLst/>
                <a:gdLst>
                  <a:gd name="T0" fmla="*/ 568 w 668"/>
                  <a:gd name="T1" fmla="*/ 180 h 887"/>
                  <a:gd name="T2" fmla="*/ 609 w 668"/>
                  <a:gd name="T3" fmla="*/ 265 h 887"/>
                  <a:gd name="T4" fmla="*/ 660 w 668"/>
                  <a:gd name="T5" fmla="*/ 437 h 887"/>
                  <a:gd name="T6" fmla="*/ 646 w 668"/>
                  <a:gd name="T7" fmla="*/ 615 h 887"/>
                  <a:gd name="T8" fmla="*/ 536 w 668"/>
                  <a:gd name="T9" fmla="*/ 784 h 887"/>
                  <a:gd name="T10" fmla="*/ 324 w 668"/>
                  <a:gd name="T11" fmla="*/ 885 h 887"/>
                  <a:gd name="T12" fmla="*/ 173 w 668"/>
                  <a:gd name="T13" fmla="*/ 848 h 887"/>
                  <a:gd name="T14" fmla="*/ 71 w 668"/>
                  <a:gd name="T15" fmla="*/ 767 h 887"/>
                  <a:gd name="T16" fmla="*/ 12 w 668"/>
                  <a:gd name="T17" fmla="*/ 650 h 887"/>
                  <a:gd name="T18" fmla="*/ 23 w 668"/>
                  <a:gd name="T19" fmla="*/ 491 h 887"/>
                  <a:gd name="T20" fmla="*/ 69 w 668"/>
                  <a:gd name="T21" fmla="*/ 384 h 887"/>
                  <a:gd name="T22" fmla="*/ 112 w 668"/>
                  <a:gd name="T23" fmla="*/ 265 h 887"/>
                  <a:gd name="T24" fmla="*/ 171 w 668"/>
                  <a:gd name="T25" fmla="*/ 167 h 887"/>
                  <a:gd name="T26" fmla="*/ 189 w 668"/>
                  <a:gd name="T27" fmla="*/ 101 h 887"/>
                  <a:gd name="T28" fmla="*/ 218 w 668"/>
                  <a:gd name="T29" fmla="*/ 39 h 887"/>
                  <a:gd name="T30" fmla="*/ 290 w 668"/>
                  <a:gd name="T31" fmla="*/ 4 h 887"/>
                  <a:gd name="T32" fmla="*/ 372 w 668"/>
                  <a:gd name="T33" fmla="*/ 11 h 887"/>
                  <a:gd name="T34" fmla="*/ 435 w 668"/>
                  <a:gd name="T35" fmla="*/ 29 h 887"/>
                  <a:gd name="T36" fmla="*/ 486 w 668"/>
                  <a:gd name="T37" fmla="*/ 54 h 887"/>
                  <a:gd name="T38" fmla="*/ 535 w 668"/>
                  <a:gd name="T39" fmla="*/ 111 h 887"/>
                  <a:gd name="T40" fmla="*/ 568 w 668"/>
                  <a:gd name="T41" fmla="*/ 180 h 8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68" h="887">
                    <a:moveTo>
                      <a:pt x="568" y="180"/>
                    </a:moveTo>
                    <a:cubicBezTo>
                      <a:pt x="581" y="209"/>
                      <a:pt x="596" y="237"/>
                      <a:pt x="609" y="265"/>
                    </a:cubicBezTo>
                    <a:cubicBezTo>
                      <a:pt x="633" y="320"/>
                      <a:pt x="652" y="377"/>
                      <a:pt x="660" y="437"/>
                    </a:cubicBezTo>
                    <a:cubicBezTo>
                      <a:pt x="668" y="496"/>
                      <a:pt x="665" y="558"/>
                      <a:pt x="646" y="615"/>
                    </a:cubicBezTo>
                    <a:cubicBezTo>
                      <a:pt x="625" y="679"/>
                      <a:pt x="585" y="737"/>
                      <a:pt x="536" y="784"/>
                    </a:cubicBezTo>
                    <a:cubicBezTo>
                      <a:pt x="478" y="839"/>
                      <a:pt x="404" y="882"/>
                      <a:pt x="324" y="885"/>
                    </a:cubicBezTo>
                    <a:cubicBezTo>
                      <a:pt x="272" y="887"/>
                      <a:pt x="220" y="872"/>
                      <a:pt x="173" y="848"/>
                    </a:cubicBezTo>
                    <a:cubicBezTo>
                      <a:pt x="134" y="828"/>
                      <a:pt x="99" y="800"/>
                      <a:pt x="71" y="767"/>
                    </a:cubicBezTo>
                    <a:cubicBezTo>
                      <a:pt x="42" y="733"/>
                      <a:pt x="21" y="693"/>
                      <a:pt x="12" y="650"/>
                    </a:cubicBezTo>
                    <a:cubicBezTo>
                      <a:pt x="0" y="598"/>
                      <a:pt x="5" y="542"/>
                      <a:pt x="23" y="491"/>
                    </a:cubicBezTo>
                    <a:cubicBezTo>
                      <a:pt x="36" y="454"/>
                      <a:pt x="55" y="420"/>
                      <a:pt x="69" y="384"/>
                    </a:cubicBezTo>
                    <a:cubicBezTo>
                      <a:pt x="84" y="345"/>
                      <a:pt x="92" y="302"/>
                      <a:pt x="112" y="265"/>
                    </a:cubicBezTo>
                    <a:cubicBezTo>
                      <a:pt x="130" y="231"/>
                      <a:pt x="157" y="202"/>
                      <a:pt x="171" y="167"/>
                    </a:cubicBezTo>
                    <a:cubicBezTo>
                      <a:pt x="180" y="146"/>
                      <a:pt x="184" y="123"/>
                      <a:pt x="189" y="101"/>
                    </a:cubicBezTo>
                    <a:cubicBezTo>
                      <a:pt x="195" y="78"/>
                      <a:pt x="202" y="56"/>
                      <a:pt x="218" y="39"/>
                    </a:cubicBezTo>
                    <a:cubicBezTo>
                      <a:pt x="236" y="18"/>
                      <a:pt x="263" y="7"/>
                      <a:pt x="290" y="4"/>
                    </a:cubicBezTo>
                    <a:cubicBezTo>
                      <a:pt x="318" y="0"/>
                      <a:pt x="345" y="5"/>
                      <a:pt x="372" y="11"/>
                    </a:cubicBezTo>
                    <a:cubicBezTo>
                      <a:pt x="394" y="16"/>
                      <a:pt x="415" y="22"/>
                      <a:pt x="435" y="29"/>
                    </a:cubicBezTo>
                    <a:cubicBezTo>
                      <a:pt x="453" y="35"/>
                      <a:pt x="471" y="43"/>
                      <a:pt x="486" y="54"/>
                    </a:cubicBezTo>
                    <a:cubicBezTo>
                      <a:pt x="507" y="68"/>
                      <a:pt x="523" y="89"/>
                      <a:pt x="535" y="111"/>
                    </a:cubicBezTo>
                    <a:cubicBezTo>
                      <a:pt x="548" y="134"/>
                      <a:pt x="557" y="157"/>
                      <a:pt x="568" y="180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78" name="Freeform 14"/>
              <p:cNvSpPr>
                <a:spLocks/>
              </p:cNvSpPr>
              <p:nvPr/>
            </p:nvSpPr>
            <p:spPr bwMode="auto">
              <a:xfrm>
                <a:off x="2770188" y="2714625"/>
                <a:ext cx="1069975" cy="1350963"/>
              </a:xfrm>
              <a:custGeom>
                <a:avLst/>
                <a:gdLst>
                  <a:gd name="T0" fmla="*/ 7 w 370"/>
                  <a:gd name="T1" fmla="*/ 356 h 467"/>
                  <a:gd name="T2" fmla="*/ 4 w 370"/>
                  <a:gd name="T3" fmla="*/ 262 h 467"/>
                  <a:gd name="T4" fmla="*/ 1 w 370"/>
                  <a:gd name="T5" fmla="*/ 173 h 467"/>
                  <a:gd name="T6" fmla="*/ 21 w 370"/>
                  <a:gd name="T7" fmla="*/ 84 h 467"/>
                  <a:gd name="T8" fmla="*/ 83 w 370"/>
                  <a:gd name="T9" fmla="*/ 19 h 467"/>
                  <a:gd name="T10" fmla="*/ 166 w 370"/>
                  <a:gd name="T11" fmla="*/ 0 h 467"/>
                  <a:gd name="T12" fmla="*/ 276 w 370"/>
                  <a:gd name="T13" fmla="*/ 35 h 467"/>
                  <a:gd name="T14" fmla="*/ 325 w 370"/>
                  <a:gd name="T15" fmla="*/ 89 h 467"/>
                  <a:gd name="T16" fmla="*/ 350 w 370"/>
                  <a:gd name="T17" fmla="*/ 145 h 467"/>
                  <a:gd name="T18" fmla="*/ 361 w 370"/>
                  <a:gd name="T19" fmla="*/ 273 h 467"/>
                  <a:gd name="T20" fmla="*/ 367 w 370"/>
                  <a:gd name="T21" fmla="*/ 394 h 467"/>
                  <a:gd name="T22" fmla="*/ 362 w 370"/>
                  <a:gd name="T23" fmla="*/ 419 h 467"/>
                  <a:gd name="T24" fmla="*/ 344 w 370"/>
                  <a:gd name="T25" fmla="*/ 437 h 467"/>
                  <a:gd name="T26" fmla="*/ 320 w 370"/>
                  <a:gd name="T27" fmla="*/ 445 h 467"/>
                  <a:gd name="T28" fmla="*/ 269 w 370"/>
                  <a:gd name="T29" fmla="*/ 448 h 467"/>
                  <a:gd name="T30" fmla="*/ 196 w 370"/>
                  <a:gd name="T31" fmla="*/ 463 h 467"/>
                  <a:gd name="T32" fmla="*/ 107 w 370"/>
                  <a:gd name="T33" fmla="*/ 463 h 467"/>
                  <a:gd name="T34" fmla="*/ 72 w 370"/>
                  <a:gd name="T35" fmla="*/ 461 h 467"/>
                  <a:gd name="T36" fmla="*/ 38 w 370"/>
                  <a:gd name="T37" fmla="*/ 451 h 467"/>
                  <a:gd name="T38" fmla="*/ 21 w 370"/>
                  <a:gd name="T39" fmla="*/ 438 h 467"/>
                  <a:gd name="T40" fmla="*/ 11 w 370"/>
                  <a:gd name="T41" fmla="*/ 418 h 467"/>
                  <a:gd name="T42" fmla="*/ 9 w 370"/>
                  <a:gd name="T43" fmla="*/ 386 h 467"/>
                  <a:gd name="T44" fmla="*/ 7 w 370"/>
                  <a:gd name="T45" fmla="*/ 356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70" h="467">
                    <a:moveTo>
                      <a:pt x="7" y="356"/>
                    </a:moveTo>
                    <a:cubicBezTo>
                      <a:pt x="5" y="325"/>
                      <a:pt x="5" y="294"/>
                      <a:pt x="4" y="262"/>
                    </a:cubicBezTo>
                    <a:cubicBezTo>
                      <a:pt x="3" y="233"/>
                      <a:pt x="0" y="203"/>
                      <a:pt x="1" y="173"/>
                    </a:cubicBezTo>
                    <a:cubicBezTo>
                      <a:pt x="2" y="142"/>
                      <a:pt x="7" y="112"/>
                      <a:pt x="21" y="84"/>
                    </a:cubicBezTo>
                    <a:cubicBezTo>
                      <a:pt x="35" y="57"/>
                      <a:pt x="56" y="34"/>
                      <a:pt x="83" y="19"/>
                    </a:cubicBezTo>
                    <a:cubicBezTo>
                      <a:pt x="109" y="6"/>
                      <a:pt x="138" y="0"/>
                      <a:pt x="166" y="0"/>
                    </a:cubicBezTo>
                    <a:cubicBezTo>
                      <a:pt x="205" y="1"/>
                      <a:pt x="244" y="12"/>
                      <a:pt x="276" y="35"/>
                    </a:cubicBezTo>
                    <a:cubicBezTo>
                      <a:pt x="295" y="50"/>
                      <a:pt x="312" y="68"/>
                      <a:pt x="325" y="89"/>
                    </a:cubicBezTo>
                    <a:cubicBezTo>
                      <a:pt x="336" y="106"/>
                      <a:pt x="345" y="125"/>
                      <a:pt x="350" y="145"/>
                    </a:cubicBezTo>
                    <a:cubicBezTo>
                      <a:pt x="361" y="186"/>
                      <a:pt x="359" y="230"/>
                      <a:pt x="361" y="273"/>
                    </a:cubicBezTo>
                    <a:cubicBezTo>
                      <a:pt x="363" y="313"/>
                      <a:pt x="370" y="353"/>
                      <a:pt x="367" y="394"/>
                    </a:cubicBezTo>
                    <a:cubicBezTo>
                      <a:pt x="367" y="402"/>
                      <a:pt x="366" y="411"/>
                      <a:pt x="362" y="419"/>
                    </a:cubicBezTo>
                    <a:cubicBezTo>
                      <a:pt x="358" y="427"/>
                      <a:pt x="352" y="433"/>
                      <a:pt x="344" y="437"/>
                    </a:cubicBezTo>
                    <a:cubicBezTo>
                      <a:pt x="337" y="441"/>
                      <a:pt x="329" y="444"/>
                      <a:pt x="320" y="445"/>
                    </a:cubicBezTo>
                    <a:cubicBezTo>
                      <a:pt x="303" y="448"/>
                      <a:pt x="286" y="446"/>
                      <a:pt x="269" y="448"/>
                    </a:cubicBezTo>
                    <a:cubicBezTo>
                      <a:pt x="244" y="450"/>
                      <a:pt x="221" y="459"/>
                      <a:pt x="196" y="463"/>
                    </a:cubicBezTo>
                    <a:cubicBezTo>
                      <a:pt x="167" y="467"/>
                      <a:pt x="137" y="464"/>
                      <a:pt x="107" y="463"/>
                    </a:cubicBezTo>
                    <a:cubicBezTo>
                      <a:pt x="96" y="463"/>
                      <a:pt x="84" y="462"/>
                      <a:pt x="72" y="461"/>
                    </a:cubicBezTo>
                    <a:cubicBezTo>
                      <a:pt x="60" y="459"/>
                      <a:pt x="48" y="457"/>
                      <a:pt x="38" y="451"/>
                    </a:cubicBezTo>
                    <a:cubicBezTo>
                      <a:pt x="32" y="448"/>
                      <a:pt x="26" y="443"/>
                      <a:pt x="21" y="438"/>
                    </a:cubicBezTo>
                    <a:cubicBezTo>
                      <a:pt x="16" y="432"/>
                      <a:pt x="12" y="426"/>
                      <a:pt x="11" y="418"/>
                    </a:cubicBezTo>
                    <a:cubicBezTo>
                      <a:pt x="8" y="408"/>
                      <a:pt x="9" y="397"/>
                      <a:pt x="9" y="386"/>
                    </a:cubicBezTo>
                    <a:cubicBezTo>
                      <a:pt x="9" y="376"/>
                      <a:pt x="8" y="366"/>
                      <a:pt x="7" y="356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79" name="Freeform 15"/>
              <p:cNvSpPr>
                <a:spLocks/>
              </p:cNvSpPr>
              <p:nvPr/>
            </p:nvSpPr>
            <p:spPr bwMode="auto">
              <a:xfrm>
                <a:off x="3165475" y="5424488"/>
                <a:ext cx="912813" cy="633413"/>
              </a:xfrm>
              <a:custGeom>
                <a:avLst/>
                <a:gdLst>
                  <a:gd name="T0" fmla="*/ 38 w 315"/>
                  <a:gd name="T1" fmla="*/ 184 h 219"/>
                  <a:gd name="T2" fmla="*/ 104 w 315"/>
                  <a:gd name="T3" fmla="*/ 190 h 219"/>
                  <a:gd name="T4" fmla="*/ 161 w 315"/>
                  <a:gd name="T5" fmla="*/ 202 h 219"/>
                  <a:gd name="T6" fmla="*/ 250 w 315"/>
                  <a:gd name="T7" fmla="*/ 219 h 219"/>
                  <a:gd name="T8" fmla="*/ 274 w 315"/>
                  <a:gd name="T9" fmla="*/ 217 h 219"/>
                  <a:gd name="T10" fmla="*/ 296 w 315"/>
                  <a:gd name="T11" fmla="*/ 207 h 219"/>
                  <a:gd name="T12" fmla="*/ 313 w 315"/>
                  <a:gd name="T13" fmla="*/ 177 h 219"/>
                  <a:gd name="T14" fmla="*/ 310 w 315"/>
                  <a:gd name="T15" fmla="*/ 141 h 219"/>
                  <a:gd name="T16" fmla="*/ 277 w 315"/>
                  <a:gd name="T17" fmla="*/ 79 h 219"/>
                  <a:gd name="T18" fmla="*/ 256 w 315"/>
                  <a:gd name="T19" fmla="*/ 43 h 219"/>
                  <a:gd name="T20" fmla="*/ 228 w 315"/>
                  <a:gd name="T21" fmla="*/ 14 h 219"/>
                  <a:gd name="T22" fmla="*/ 174 w 315"/>
                  <a:gd name="T23" fmla="*/ 2 h 219"/>
                  <a:gd name="T24" fmla="*/ 120 w 315"/>
                  <a:gd name="T25" fmla="*/ 20 h 219"/>
                  <a:gd name="T26" fmla="*/ 62 w 315"/>
                  <a:gd name="T27" fmla="*/ 72 h 219"/>
                  <a:gd name="T28" fmla="*/ 50 w 315"/>
                  <a:gd name="T29" fmla="*/ 97 h 219"/>
                  <a:gd name="T30" fmla="*/ 35 w 315"/>
                  <a:gd name="T31" fmla="*/ 120 h 219"/>
                  <a:gd name="T32" fmla="*/ 12 w 315"/>
                  <a:gd name="T33" fmla="*/ 139 h 219"/>
                  <a:gd name="T34" fmla="*/ 3 w 315"/>
                  <a:gd name="T35" fmla="*/ 152 h 219"/>
                  <a:gd name="T36" fmla="*/ 2 w 315"/>
                  <a:gd name="T37" fmla="*/ 167 h 219"/>
                  <a:gd name="T38" fmla="*/ 8 w 315"/>
                  <a:gd name="T39" fmla="*/ 175 h 219"/>
                  <a:gd name="T40" fmla="*/ 17 w 315"/>
                  <a:gd name="T41" fmla="*/ 181 h 219"/>
                  <a:gd name="T42" fmla="*/ 38 w 315"/>
                  <a:gd name="T43" fmla="*/ 184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15" h="219">
                    <a:moveTo>
                      <a:pt x="38" y="184"/>
                    </a:moveTo>
                    <a:cubicBezTo>
                      <a:pt x="60" y="185"/>
                      <a:pt x="82" y="187"/>
                      <a:pt x="104" y="190"/>
                    </a:cubicBezTo>
                    <a:cubicBezTo>
                      <a:pt x="123" y="193"/>
                      <a:pt x="142" y="197"/>
                      <a:pt x="161" y="202"/>
                    </a:cubicBezTo>
                    <a:cubicBezTo>
                      <a:pt x="190" y="209"/>
                      <a:pt x="220" y="218"/>
                      <a:pt x="250" y="219"/>
                    </a:cubicBezTo>
                    <a:cubicBezTo>
                      <a:pt x="258" y="219"/>
                      <a:pt x="266" y="219"/>
                      <a:pt x="274" y="217"/>
                    </a:cubicBezTo>
                    <a:cubicBezTo>
                      <a:pt x="282" y="215"/>
                      <a:pt x="289" y="212"/>
                      <a:pt x="296" y="207"/>
                    </a:cubicBezTo>
                    <a:cubicBezTo>
                      <a:pt x="305" y="200"/>
                      <a:pt x="311" y="188"/>
                      <a:pt x="313" y="177"/>
                    </a:cubicBezTo>
                    <a:cubicBezTo>
                      <a:pt x="315" y="165"/>
                      <a:pt x="314" y="153"/>
                      <a:pt x="310" y="141"/>
                    </a:cubicBezTo>
                    <a:cubicBezTo>
                      <a:pt x="304" y="119"/>
                      <a:pt x="289" y="99"/>
                      <a:pt x="277" y="79"/>
                    </a:cubicBezTo>
                    <a:cubicBezTo>
                      <a:pt x="270" y="67"/>
                      <a:pt x="264" y="55"/>
                      <a:pt x="256" y="43"/>
                    </a:cubicBezTo>
                    <a:cubicBezTo>
                      <a:pt x="248" y="32"/>
                      <a:pt x="239" y="21"/>
                      <a:pt x="228" y="14"/>
                    </a:cubicBezTo>
                    <a:cubicBezTo>
                      <a:pt x="212" y="4"/>
                      <a:pt x="192" y="0"/>
                      <a:pt x="174" y="2"/>
                    </a:cubicBezTo>
                    <a:cubicBezTo>
                      <a:pt x="155" y="4"/>
                      <a:pt x="137" y="11"/>
                      <a:pt x="120" y="20"/>
                    </a:cubicBezTo>
                    <a:cubicBezTo>
                      <a:pt x="96" y="32"/>
                      <a:pt x="74" y="48"/>
                      <a:pt x="62" y="72"/>
                    </a:cubicBezTo>
                    <a:cubicBezTo>
                      <a:pt x="57" y="80"/>
                      <a:pt x="54" y="88"/>
                      <a:pt x="50" y="97"/>
                    </a:cubicBezTo>
                    <a:cubicBezTo>
                      <a:pt x="46" y="105"/>
                      <a:pt x="42" y="113"/>
                      <a:pt x="35" y="120"/>
                    </a:cubicBezTo>
                    <a:cubicBezTo>
                      <a:pt x="28" y="127"/>
                      <a:pt x="19" y="132"/>
                      <a:pt x="12" y="139"/>
                    </a:cubicBezTo>
                    <a:cubicBezTo>
                      <a:pt x="8" y="143"/>
                      <a:pt x="5" y="147"/>
                      <a:pt x="3" y="152"/>
                    </a:cubicBezTo>
                    <a:cubicBezTo>
                      <a:pt x="1" y="157"/>
                      <a:pt x="0" y="162"/>
                      <a:pt x="2" y="167"/>
                    </a:cubicBezTo>
                    <a:cubicBezTo>
                      <a:pt x="3" y="170"/>
                      <a:pt x="5" y="173"/>
                      <a:pt x="8" y="175"/>
                    </a:cubicBezTo>
                    <a:cubicBezTo>
                      <a:pt x="11" y="178"/>
                      <a:pt x="14" y="179"/>
                      <a:pt x="17" y="181"/>
                    </a:cubicBezTo>
                    <a:cubicBezTo>
                      <a:pt x="24" y="183"/>
                      <a:pt x="31" y="183"/>
                      <a:pt x="38" y="184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80" name="Freeform 16"/>
              <p:cNvSpPr>
                <a:spLocks/>
              </p:cNvSpPr>
              <p:nvPr/>
            </p:nvSpPr>
            <p:spPr bwMode="auto">
              <a:xfrm>
                <a:off x="2344738" y="5424488"/>
                <a:ext cx="855663" cy="633413"/>
              </a:xfrm>
              <a:custGeom>
                <a:avLst/>
                <a:gdLst>
                  <a:gd name="T0" fmla="*/ 257 w 296"/>
                  <a:gd name="T1" fmla="*/ 182 h 219"/>
                  <a:gd name="T2" fmla="*/ 202 w 296"/>
                  <a:gd name="T3" fmla="*/ 190 h 219"/>
                  <a:gd name="T4" fmla="*/ 151 w 296"/>
                  <a:gd name="T5" fmla="*/ 202 h 219"/>
                  <a:gd name="T6" fmla="*/ 64 w 296"/>
                  <a:gd name="T7" fmla="*/ 219 h 219"/>
                  <a:gd name="T8" fmla="*/ 41 w 296"/>
                  <a:gd name="T9" fmla="*/ 217 h 219"/>
                  <a:gd name="T10" fmla="*/ 20 w 296"/>
                  <a:gd name="T11" fmla="*/ 207 h 219"/>
                  <a:gd name="T12" fmla="*/ 3 w 296"/>
                  <a:gd name="T13" fmla="*/ 177 h 219"/>
                  <a:gd name="T14" fmla="*/ 5 w 296"/>
                  <a:gd name="T15" fmla="*/ 142 h 219"/>
                  <a:gd name="T16" fmla="*/ 38 w 296"/>
                  <a:gd name="T17" fmla="*/ 79 h 219"/>
                  <a:gd name="T18" fmla="*/ 58 w 296"/>
                  <a:gd name="T19" fmla="*/ 43 h 219"/>
                  <a:gd name="T20" fmla="*/ 86 w 296"/>
                  <a:gd name="T21" fmla="*/ 14 h 219"/>
                  <a:gd name="T22" fmla="*/ 139 w 296"/>
                  <a:gd name="T23" fmla="*/ 2 h 219"/>
                  <a:gd name="T24" fmla="*/ 191 w 296"/>
                  <a:gd name="T25" fmla="*/ 20 h 219"/>
                  <a:gd name="T26" fmla="*/ 248 w 296"/>
                  <a:gd name="T27" fmla="*/ 72 h 219"/>
                  <a:gd name="T28" fmla="*/ 273 w 296"/>
                  <a:gd name="T29" fmla="*/ 120 h 219"/>
                  <a:gd name="T30" fmla="*/ 291 w 296"/>
                  <a:gd name="T31" fmla="*/ 143 h 219"/>
                  <a:gd name="T32" fmla="*/ 296 w 296"/>
                  <a:gd name="T33" fmla="*/ 157 h 219"/>
                  <a:gd name="T34" fmla="*/ 292 w 296"/>
                  <a:gd name="T35" fmla="*/ 171 h 219"/>
                  <a:gd name="T36" fmla="*/ 285 w 296"/>
                  <a:gd name="T37" fmla="*/ 178 h 219"/>
                  <a:gd name="T38" fmla="*/ 276 w 296"/>
                  <a:gd name="T39" fmla="*/ 181 h 219"/>
                  <a:gd name="T40" fmla="*/ 257 w 296"/>
                  <a:gd name="T41" fmla="*/ 182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96" h="219">
                    <a:moveTo>
                      <a:pt x="257" y="182"/>
                    </a:moveTo>
                    <a:cubicBezTo>
                      <a:pt x="238" y="183"/>
                      <a:pt x="220" y="186"/>
                      <a:pt x="202" y="190"/>
                    </a:cubicBezTo>
                    <a:cubicBezTo>
                      <a:pt x="185" y="193"/>
                      <a:pt x="168" y="197"/>
                      <a:pt x="151" y="202"/>
                    </a:cubicBezTo>
                    <a:cubicBezTo>
                      <a:pt x="122" y="209"/>
                      <a:pt x="94" y="218"/>
                      <a:pt x="64" y="219"/>
                    </a:cubicBezTo>
                    <a:cubicBezTo>
                      <a:pt x="56" y="219"/>
                      <a:pt x="49" y="219"/>
                      <a:pt x="41" y="217"/>
                    </a:cubicBezTo>
                    <a:cubicBezTo>
                      <a:pt x="33" y="215"/>
                      <a:pt x="26" y="212"/>
                      <a:pt x="20" y="207"/>
                    </a:cubicBezTo>
                    <a:cubicBezTo>
                      <a:pt x="11" y="200"/>
                      <a:pt x="5" y="188"/>
                      <a:pt x="3" y="177"/>
                    </a:cubicBezTo>
                    <a:cubicBezTo>
                      <a:pt x="0" y="165"/>
                      <a:pt x="2" y="153"/>
                      <a:pt x="5" y="142"/>
                    </a:cubicBezTo>
                    <a:cubicBezTo>
                      <a:pt x="12" y="119"/>
                      <a:pt x="26" y="99"/>
                      <a:pt x="38" y="79"/>
                    </a:cubicBezTo>
                    <a:cubicBezTo>
                      <a:pt x="45" y="67"/>
                      <a:pt x="51" y="55"/>
                      <a:pt x="58" y="43"/>
                    </a:cubicBezTo>
                    <a:cubicBezTo>
                      <a:pt x="66" y="32"/>
                      <a:pt x="75" y="21"/>
                      <a:pt x="86" y="14"/>
                    </a:cubicBezTo>
                    <a:cubicBezTo>
                      <a:pt x="101" y="4"/>
                      <a:pt x="121" y="0"/>
                      <a:pt x="139" y="2"/>
                    </a:cubicBezTo>
                    <a:cubicBezTo>
                      <a:pt x="157" y="4"/>
                      <a:pt x="175" y="11"/>
                      <a:pt x="191" y="20"/>
                    </a:cubicBezTo>
                    <a:cubicBezTo>
                      <a:pt x="214" y="32"/>
                      <a:pt x="235" y="49"/>
                      <a:pt x="248" y="72"/>
                    </a:cubicBezTo>
                    <a:cubicBezTo>
                      <a:pt x="257" y="87"/>
                      <a:pt x="262" y="105"/>
                      <a:pt x="273" y="120"/>
                    </a:cubicBezTo>
                    <a:cubicBezTo>
                      <a:pt x="279" y="128"/>
                      <a:pt x="286" y="135"/>
                      <a:pt x="291" y="143"/>
                    </a:cubicBezTo>
                    <a:cubicBezTo>
                      <a:pt x="294" y="148"/>
                      <a:pt x="295" y="152"/>
                      <a:pt x="296" y="157"/>
                    </a:cubicBezTo>
                    <a:cubicBezTo>
                      <a:pt x="296" y="162"/>
                      <a:pt x="295" y="167"/>
                      <a:pt x="292" y="171"/>
                    </a:cubicBezTo>
                    <a:cubicBezTo>
                      <a:pt x="291" y="174"/>
                      <a:pt x="288" y="176"/>
                      <a:pt x="285" y="178"/>
                    </a:cubicBezTo>
                    <a:cubicBezTo>
                      <a:pt x="282" y="179"/>
                      <a:pt x="279" y="180"/>
                      <a:pt x="276" y="181"/>
                    </a:cubicBezTo>
                    <a:cubicBezTo>
                      <a:pt x="270" y="182"/>
                      <a:pt x="263" y="182"/>
                      <a:pt x="257" y="182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82" name="Freeform 17"/>
              <p:cNvSpPr>
                <a:spLocks/>
              </p:cNvSpPr>
              <p:nvPr/>
            </p:nvSpPr>
            <p:spPr bwMode="auto">
              <a:xfrm>
                <a:off x="2474913" y="3654425"/>
                <a:ext cx="1470025" cy="2185988"/>
              </a:xfrm>
              <a:custGeom>
                <a:avLst/>
                <a:gdLst>
                  <a:gd name="T0" fmla="*/ 156 w 508"/>
                  <a:gd name="T1" fmla="*/ 19 h 756"/>
                  <a:gd name="T2" fmla="*/ 147 w 508"/>
                  <a:gd name="T3" fmla="*/ 37 h 756"/>
                  <a:gd name="T4" fmla="*/ 145 w 508"/>
                  <a:gd name="T5" fmla="*/ 57 h 756"/>
                  <a:gd name="T6" fmla="*/ 142 w 508"/>
                  <a:gd name="T7" fmla="*/ 97 h 756"/>
                  <a:gd name="T8" fmla="*/ 121 w 508"/>
                  <a:gd name="T9" fmla="*/ 134 h 756"/>
                  <a:gd name="T10" fmla="*/ 85 w 508"/>
                  <a:gd name="T11" fmla="*/ 199 h 756"/>
                  <a:gd name="T12" fmla="*/ 81 w 508"/>
                  <a:gd name="T13" fmla="*/ 244 h 756"/>
                  <a:gd name="T14" fmla="*/ 39 w 508"/>
                  <a:gd name="T15" fmla="*/ 319 h 756"/>
                  <a:gd name="T16" fmla="*/ 5 w 508"/>
                  <a:gd name="T17" fmla="*/ 444 h 756"/>
                  <a:gd name="T18" fmla="*/ 28 w 508"/>
                  <a:gd name="T19" fmla="*/ 601 h 756"/>
                  <a:gd name="T20" fmla="*/ 94 w 508"/>
                  <a:gd name="T21" fmla="*/ 694 h 756"/>
                  <a:gd name="T22" fmla="*/ 143 w 508"/>
                  <a:gd name="T23" fmla="*/ 726 h 756"/>
                  <a:gd name="T24" fmla="*/ 339 w 508"/>
                  <a:gd name="T25" fmla="*/ 724 h 756"/>
                  <a:gd name="T26" fmla="*/ 422 w 508"/>
                  <a:gd name="T27" fmla="*/ 658 h 756"/>
                  <a:gd name="T28" fmla="*/ 464 w 508"/>
                  <a:gd name="T29" fmla="*/ 611 h 756"/>
                  <a:gd name="T30" fmla="*/ 500 w 508"/>
                  <a:gd name="T31" fmla="*/ 494 h 756"/>
                  <a:gd name="T32" fmla="*/ 477 w 508"/>
                  <a:gd name="T33" fmla="*/ 282 h 756"/>
                  <a:gd name="T34" fmla="*/ 435 w 508"/>
                  <a:gd name="T35" fmla="*/ 222 h 756"/>
                  <a:gd name="T36" fmla="*/ 408 w 508"/>
                  <a:gd name="T37" fmla="*/ 132 h 756"/>
                  <a:gd name="T38" fmla="*/ 378 w 508"/>
                  <a:gd name="T39" fmla="*/ 70 h 756"/>
                  <a:gd name="T40" fmla="*/ 367 w 508"/>
                  <a:gd name="T41" fmla="*/ 45 h 756"/>
                  <a:gd name="T42" fmla="*/ 352 w 508"/>
                  <a:gd name="T43" fmla="*/ 22 h 756"/>
                  <a:gd name="T44" fmla="*/ 327 w 508"/>
                  <a:gd name="T45" fmla="*/ 7 h 756"/>
                  <a:gd name="T46" fmla="*/ 299 w 508"/>
                  <a:gd name="T47" fmla="*/ 3 h 756"/>
                  <a:gd name="T48" fmla="*/ 242 w 508"/>
                  <a:gd name="T49" fmla="*/ 3 h 756"/>
                  <a:gd name="T50" fmla="*/ 196 w 508"/>
                  <a:gd name="T51" fmla="*/ 1 h 756"/>
                  <a:gd name="T52" fmla="*/ 174 w 508"/>
                  <a:gd name="T53" fmla="*/ 6 h 756"/>
                  <a:gd name="T54" fmla="*/ 156 w 508"/>
                  <a:gd name="T55" fmla="*/ 19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08" h="756">
                    <a:moveTo>
                      <a:pt x="156" y="19"/>
                    </a:moveTo>
                    <a:cubicBezTo>
                      <a:pt x="152" y="24"/>
                      <a:pt x="149" y="30"/>
                      <a:pt x="147" y="37"/>
                    </a:cubicBezTo>
                    <a:cubicBezTo>
                      <a:pt x="146" y="43"/>
                      <a:pt x="145" y="50"/>
                      <a:pt x="145" y="57"/>
                    </a:cubicBezTo>
                    <a:cubicBezTo>
                      <a:pt x="144" y="70"/>
                      <a:pt x="145" y="84"/>
                      <a:pt x="142" y="97"/>
                    </a:cubicBezTo>
                    <a:cubicBezTo>
                      <a:pt x="138" y="111"/>
                      <a:pt x="129" y="123"/>
                      <a:pt x="121" y="134"/>
                    </a:cubicBezTo>
                    <a:cubicBezTo>
                      <a:pt x="106" y="155"/>
                      <a:pt x="92" y="175"/>
                      <a:pt x="85" y="199"/>
                    </a:cubicBezTo>
                    <a:cubicBezTo>
                      <a:pt x="80" y="214"/>
                      <a:pt x="79" y="229"/>
                      <a:pt x="81" y="244"/>
                    </a:cubicBezTo>
                    <a:cubicBezTo>
                      <a:pt x="64" y="268"/>
                      <a:pt x="50" y="293"/>
                      <a:pt x="39" y="319"/>
                    </a:cubicBezTo>
                    <a:cubicBezTo>
                      <a:pt x="21" y="359"/>
                      <a:pt x="9" y="401"/>
                      <a:pt x="5" y="444"/>
                    </a:cubicBezTo>
                    <a:cubicBezTo>
                      <a:pt x="0" y="497"/>
                      <a:pt x="7" y="552"/>
                      <a:pt x="28" y="601"/>
                    </a:cubicBezTo>
                    <a:cubicBezTo>
                      <a:pt x="43" y="636"/>
                      <a:pt x="65" y="668"/>
                      <a:pt x="94" y="694"/>
                    </a:cubicBezTo>
                    <a:cubicBezTo>
                      <a:pt x="109" y="706"/>
                      <a:pt x="126" y="717"/>
                      <a:pt x="143" y="726"/>
                    </a:cubicBezTo>
                    <a:cubicBezTo>
                      <a:pt x="204" y="756"/>
                      <a:pt x="279" y="756"/>
                      <a:pt x="339" y="724"/>
                    </a:cubicBezTo>
                    <a:cubicBezTo>
                      <a:pt x="370" y="707"/>
                      <a:pt x="397" y="683"/>
                      <a:pt x="422" y="658"/>
                    </a:cubicBezTo>
                    <a:cubicBezTo>
                      <a:pt x="437" y="644"/>
                      <a:pt x="453" y="628"/>
                      <a:pt x="464" y="611"/>
                    </a:cubicBezTo>
                    <a:cubicBezTo>
                      <a:pt x="487" y="576"/>
                      <a:pt x="495" y="534"/>
                      <a:pt x="500" y="494"/>
                    </a:cubicBezTo>
                    <a:cubicBezTo>
                      <a:pt x="508" y="422"/>
                      <a:pt x="508" y="347"/>
                      <a:pt x="477" y="282"/>
                    </a:cubicBezTo>
                    <a:cubicBezTo>
                      <a:pt x="466" y="260"/>
                      <a:pt x="452" y="239"/>
                      <a:pt x="435" y="222"/>
                    </a:cubicBezTo>
                    <a:cubicBezTo>
                      <a:pt x="430" y="191"/>
                      <a:pt x="421" y="160"/>
                      <a:pt x="408" y="132"/>
                    </a:cubicBezTo>
                    <a:cubicBezTo>
                      <a:pt x="399" y="111"/>
                      <a:pt x="387" y="91"/>
                      <a:pt x="378" y="70"/>
                    </a:cubicBezTo>
                    <a:cubicBezTo>
                      <a:pt x="375" y="62"/>
                      <a:pt x="371" y="53"/>
                      <a:pt x="367" y="45"/>
                    </a:cubicBezTo>
                    <a:cubicBezTo>
                      <a:pt x="363" y="36"/>
                      <a:pt x="358" y="28"/>
                      <a:pt x="352" y="22"/>
                    </a:cubicBezTo>
                    <a:cubicBezTo>
                      <a:pt x="345" y="15"/>
                      <a:pt x="336" y="10"/>
                      <a:pt x="327" y="7"/>
                    </a:cubicBezTo>
                    <a:cubicBezTo>
                      <a:pt x="318" y="4"/>
                      <a:pt x="309" y="3"/>
                      <a:pt x="299" y="3"/>
                    </a:cubicBezTo>
                    <a:cubicBezTo>
                      <a:pt x="280" y="2"/>
                      <a:pt x="261" y="4"/>
                      <a:pt x="242" y="3"/>
                    </a:cubicBezTo>
                    <a:cubicBezTo>
                      <a:pt x="227" y="3"/>
                      <a:pt x="211" y="0"/>
                      <a:pt x="196" y="1"/>
                    </a:cubicBezTo>
                    <a:cubicBezTo>
                      <a:pt x="189" y="1"/>
                      <a:pt x="181" y="3"/>
                      <a:pt x="174" y="6"/>
                    </a:cubicBezTo>
                    <a:cubicBezTo>
                      <a:pt x="167" y="8"/>
                      <a:pt x="161" y="13"/>
                      <a:pt x="156" y="19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83" name="Freeform 18"/>
              <p:cNvSpPr>
                <a:spLocks/>
              </p:cNvSpPr>
              <p:nvPr/>
            </p:nvSpPr>
            <p:spPr bwMode="auto">
              <a:xfrm>
                <a:off x="1811338" y="5070475"/>
                <a:ext cx="1117600" cy="1087438"/>
              </a:xfrm>
              <a:custGeom>
                <a:avLst/>
                <a:gdLst>
                  <a:gd name="T0" fmla="*/ 163 w 386"/>
                  <a:gd name="T1" fmla="*/ 3 h 376"/>
                  <a:gd name="T2" fmla="*/ 183 w 386"/>
                  <a:gd name="T3" fmla="*/ 1 h 376"/>
                  <a:gd name="T4" fmla="*/ 203 w 386"/>
                  <a:gd name="T5" fmla="*/ 9 h 376"/>
                  <a:gd name="T6" fmla="*/ 231 w 386"/>
                  <a:gd name="T7" fmla="*/ 39 h 376"/>
                  <a:gd name="T8" fmla="*/ 284 w 386"/>
                  <a:gd name="T9" fmla="*/ 118 h 376"/>
                  <a:gd name="T10" fmla="*/ 325 w 386"/>
                  <a:gd name="T11" fmla="*/ 184 h 376"/>
                  <a:gd name="T12" fmla="*/ 357 w 386"/>
                  <a:gd name="T13" fmla="*/ 223 h 376"/>
                  <a:gd name="T14" fmla="*/ 380 w 386"/>
                  <a:gd name="T15" fmla="*/ 267 h 376"/>
                  <a:gd name="T16" fmla="*/ 374 w 386"/>
                  <a:gd name="T17" fmla="*/ 331 h 376"/>
                  <a:gd name="T18" fmla="*/ 342 w 386"/>
                  <a:gd name="T19" fmla="*/ 364 h 376"/>
                  <a:gd name="T20" fmla="*/ 298 w 386"/>
                  <a:gd name="T21" fmla="*/ 376 h 376"/>
                  <a:gd name="T22" fmla="*/ 228 w 386"/>
                  <a:gd name="T23" fmla="*/ 353 h 376"/>
                  <a:gd name="T24" fmla="*/ 83 w 386"/>
                  <a:gd name="T25" fmla="*/ 315 h 376"/>
                  <a:gd name="T26" fmla="*/ 39 w 386"/>
                  <a:gd name="T27" fmla="*/ 301 h 376"/>
                  <a:gd name="T28" fmla="*/ 19 w 386"/>
                  <a:gd name="T29" fmla="*/ 295 h 376"/>
                  <a:gd name="T30" fmla="*/ 3 w 386"/>
                  <a:gd name="T31" fmla="*/ 282 h 376"/>
                  <a:gd name="T32" fmla="*/ 0 w 386"/>
                  <a:gd name="T33" fmla="*/ 267 h 376"/>
                  <a:gd name="T34" fmla="*/ 3 w 386"/>
                  <a:gd name="T35" fmla="*/ 252 h 376"/>
                  <a:gd name="T36" fmla="*/ 16 w 386"/>
                  <a:gd name="T37" fmla="*/ 223 h 376"/>
                  <a:gd name="T38" fmla="*/ 23 w 386"/>
                  <a:gd name="T39" fmla="*/ 173 h 376"/>
                  <a:gd name="T40" fmla="*/ 18 w 386"/>
                  <a:gd name="T41" fmla="*/ 122 h 376"/>
                  <a:gd name="T42" fmla="*/ 19 w 386"/>
                  <a:gd name="T43" fmla="*/ 99 h 376"/>
                  <a:gd name="T44" fmla="*/ 29 w 386"/>
                  <a:gd name="T45" fmla="*/ 79 h 376"/>
                  <a:gd name="T46" fmla="*/ 48 w 386"/>
                  <a:gd name="T47" fmla="*/ 70 h 376"/>
                  <a:gd name="T48" fmla="*/ 69 w 386"/>
                  <a:gd name="T49" fmla="*/ 68 h 376"/>
                  <a:gd name="T50" fmla="*/ 91 w 386"/>
                  <a:gd name="T51" fmla="*/ 68 h 376"/>
                  <a:gd name="T52" fmla="*/ 111 w 386"/>
                  <a:gd name="T53" fmla="*/ 63 h 376"/>
                  <a:gd name="T54" fmla="*/ 126 w 386"/>
                  <a:gd name="T55" fmla="*/ 49 h 376"/>
                  <a:gd name="T56" fmla="*/ 136 w 386"/>
                  <a:gd name="T57" fmla="*/ 32 h 376"/>
                  <a:gd name="T58" fmla="*/ 147 w 386"/>
                  <a:gd name="T59" fmla="*/ 15 h 376"/>
                  <a:gd name="T60" fmla="*/ 163 w 386"/>
                  <a:gd name="T61" fmla="*/ 3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86" h="376">
                    <a:moveTo>
                      <a:pt x="163" y="3"/>
                    </a:moveTo>
                    <a:cubicBezTo>
                      <a:pt x="169" y="0"/>
                      <a:pt x="177" y="0"/>
                      <a:pt x="183" y="1"/>
                    </a:cubicBezTo>
                    <a:cubicBezTo>
                      <a:pt x="190" y="2"/>
                      <a:pt x="197" y="5"/>
                      <a:pt x="203" y="9"/>
                    </a:cubicBezTo>
                    <a:cubicBezTo>
                      <a:pt x="214" y="17"/>
                      <a:pt x="223" y="28"/>
                      <a:pt x="231" y="39"/>
                    </a:cubicBezTo>
                    <a:cubicBezTo>
                      <a:pt x="250" y="65"/>
                      <a:pt x="268" y="91"/>
                      <a:pt x="284" y="118"/>
                    </a:cubicBezTo>
                    <a:cubicBezTo>
                      <a:pt x="298" y="140"/>
                      <a:pt x="310" y="163"/>
                      <a:pt x="325" y="184"/>
                    </a:cubicBezTo>
                    <a:cubicBezTo>
                      <a:pt x="335" y="197"/>
                      <a:pt x="347" y="210"/>
                      <a:pt x="357" y="223"/>
                    </a:cubicBezTo>
                    <a:cubicBezTo>
                      <a:pt x="367" y="236"/>
                      <a:pt x="376" y="251"/>
                      <a:pt x="380" y="267"/>
                    </a:cubicBezTo>
                    <a:cubicBezTo>
                      <a:pt x="386" y="288"/>
                      <a:pt x="384" y="312"/>
                      <a:pt x="374" y="331"/>
                    </a:cubicBezTo>
                    <a:cubicBezTo>
                      <a:pt x="366" y="345"/>
                      <a:pt x="355" y="356"/>
                      <a:pt x="342" y="364"/>
                    </a:cubicBezTo>
                    <a:cubicBezTo>
                      <a:pt x="329" y="372"/>
                      <a:pt x="313" y="376"/>
                      <a:pt x="298" y="376"/>
                    </a:cubicBezTo>
                    <a:cubicBezTo>
                      <a:pt x="273" y="375"/>
                      <a:pt x="251" y="362"/>
                      <a:pt x="228" y="353"/>
                    </a:cubicBezTo>
                    <a:cubicBezTo>
                      <a:pt x="181" y="335"/>
                      <a:pt x="131" y="329"/>
                      <a:pt x="83" y="315"/>
                    </a:cubicBezTo>
                    <a:cubicBezTo>
                      <a:pt x="68" y="311"/>
                      <a:pt x="53" y="305"/>
                      <a:pt x="39" y="301"/>
                    </a:cubicBezTo>
                    <a:cubicBezTo>
                      <a:pt x="32" y="300"/>
                      <a:pt x="25" y="298"/>
                      <a:pt x="19" y="295"/>
                    </a:cubicBezTo>
                    <a:cubicBezTo>
                      <a:pt x="13" y="292"/>
                      <a:pt x="7" y="288"/>
                      <a:pt x="3" y="282"/>
                    </a:cubicBezTo>
                    <a:cubicBezTo>
                      <a:pt x="1" y="278"/>
                      <a:pt x="0" y="272"/>
                      <a:pt x="0" y="267"/>
                    </a:cubicBezTo>
                    <a:cubicBezTo>
                      <a:pt x="0" y="262"/>
                      <a:pt x="1" y="257"/>
                      <a:pt x="3" y="252"/>
                    </a:cubicBezTo>
                    <a:cubicBezTo>
                      <a:pt x="6" y="242"/>
                      <a:pt x="12" y="233"/>
                      <a:pt x="16" y="223"/>
                    </a:cubicBezTo>
                    <a:cubicBezTo>
                      <a:pt x="23" y="208"/>
                      <a:pt x="24" y="190"/>
                      <a:pt x="23" y="173"/>
                    </a:cubicBezTo>
                    <a:cubicBezTo>
                      <a:pt x="22" y="156"/>
                      <a:pt x="19" y="139"/>
                      <a:pt x="18" y="122"/>
                    </a:cubicBezTo>
                    <a:cubicBezTo>
                      <a:pt x="17" y="114"/>
                      <a:pt x="17" y="106"/>
                      <a:pt x="19" y="99"/>
                    </a:cubicBezTo>
                    <a:cubicBezTo>
                      <a:pt x="20" y="91"/>
                      <a:pt x="24" y="84"/>
                      <a:pt x="29" y="79"/>
                    </a:cubicBezTo>
                    <a:cubicBezTo>
                      <a:pt x="34" y="74"/>
                      <a:pt x="41" y="71"/>
                      <a:pt x="48" y="70"/>
                    </a:cubicBezTo>
                    <a:cubicBezTo>
                      <a:pt x="55" y="68"/>
                      <a:pt x="62" y="68"/>
                      <a:pt x="69" y="68"/>
                    </a:cubicBezTo>
                    <a:cubicBezTo>
                      <a:pt x="76" y="68"/>
                      <a:pt x="83" y="69"/>
                      <a:pt x="91" y="68"/>
                    </a:cubicBezTo>
                    <a:cubicBezTo>
                      <a:pt x="98" y="68"/>
                      <a:pt x="105" y="66"/>
                      <a:pt x="111" y="63"/>
                    </a:cubicBezTo>
                    <a:cubicBezTo>
                      <a:pt x="117" y="59"/>
                      <a:pt x="122" y="54"/>
                      <a:pt x="126" y="49"/>
                    </a:cubicBezTo>
                    <a:cubicBezTo>
                      <a:pt x="130" y="44"/>
                      <a:pt x="133" y="38"/>
                      <a:pt x="136" y="32"/>
                    </a:cubicBezTo>
                    <a:cubicBezTo>
                      <a:pt x="139" y="26"/>
                      <a:pt x="143" y="20"/>
                      <a:pt x="147" y="15"/>
                    </a:cubicBezTo>
                    <a:cubicBezTo>
                      <a:pt x="152" y="10"/>
                      <a:pt x="157" y="5"/>
                      <a:pt x="163" y="3"/>
                    </a:cubicBezTo>
                    <a:close/>
                  </a:path>
                </a:pathLst>
              </a:custGeom>
              <a:grpFill/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84" name="Freeform 19"/>
              <p:cNvSpPr>
                <a:spLocks/>
              </p:cNvSpPr>
              <p:nvPr/>
            </p:nvSpPr>
            <p:spPr bwMode="auto">
              <a:xfrm>
                <a:off x="3698875" y="5132388"/>
                <a:ext cx="1009650" cy="1035050"/>
              </a:xfrm>
              <a:custGeom>
                <a:avLst/>
                <a:gdLst>
                  <a:gd name="T0" fmla="*/ 347 w 349"/>
                  <a:gd name="T1" fmla="*/ 184 h 358"/>
                  <a:gd name="T2" fmla="*/ 336 w 349"/>
                  <a:gd name="T3" fmla="*/ 203 h 358"/>
                  <a:gd name="T4" fmla="*/ 296 w 349"/>
                  <a:gd name="T5" fmla="*/ 231 h 358"/>
                  <a:gd name="T6" fmla="*/ 222 w 349"/>
                  <a:gd name="T7" fmla="*/ 270 h 358"/>
                  <a:gd name="T8" fmla="*/ 178 w 349"/>
                  <a:gd name="T9" fmla="*/ 305 h 358"/>
                  <a:gd name="T10" fmla="*/ 143 w 349"/>
                  <a:gd name="T11" fmla="*/ 336 h 358"/>
                  <a:gd name="T12" fmla="*/ 98 w 349"/>
                  <a:gd name="T13" fmla="*/ 355 h 358"/>
                  <a:gd name="T14" fmla="*/ 41 w 349"/>
                  <a:gd name="T15" fmla="*/ 346 h 358"/>
                  <a:gd name="T16" fmla="*/ 9 w 349"/>
                  <a:gd name="T17" fmla="*/ 322 h 358"/>
                  <a:gd name="T18" fmla="*/ 0 w 349"/>
                  <a:gd name="T19" fmla="*/ 282 h 358"/>
                  <a:gd name="T20" fmla="*/ 8 w 349"/>
                  <a:gd name="T21" fmla="*/ 210 h 358"/>
                  <a:gd name="T22" fmla="*/ 18 w 349"/>
                  <a:gd name="T23" fmla="*/ 150 h 358"/>
                  <a:gd name="T24" fmla="*/ 19 w 349"/>
                  <a:gd name="T25" fmla="*/ 41 h 358"/>
                  <a:gd name="T26" fmla="*/ 19 w 349"/>
                  <a:gd name="T27" fmla="*/ 23 h 358"/>
                  <a:gd name="T28" fmla="*/ 27 w 349"/>
                  <a:gd name="T29" fmla="*/ 6 h 358"/>
                  <a:gd name="T30" fmla="*/ 43 w 349"/>
                  <a:gd name="T31" fmla="*/ 1 h 358"/>
                  <a:gd name="T32" fmla="*/ 60 w 349"/>
                  <a:gd name="T33" fmla="*/ 2 h 358"/>
                  <a:gd name="T34" fmla="*/ 100 w 349"/>
                  <a:gd name="T35" fmla="*/ 9 h 358"/>
                  <a:gd name="T36" fmla="*/ 124 w 349"/>
                  <a:gd name="T37" fmla="*/ 16 h 358"/>
                  <a:gd name="T38" fmla="*/ 166 w 349"/>
                  <a:gd name="T39" fmla="*/ 20 h 358"/>
                  <a:gd name="T40" fmla="*/ 211 w 349"/>
                  <a:gd name="T41" fmla="*/ 13 h 358"/>
                  <a:gd name="T42" fmla="*/ 230 w 349"/>
                  <a:gd name="T43" fmla="*/ 16 h 358"/>
                  <a:gd name="T44" fmla="*/ 246 w 349"/>
                  <a:gd name="T45" fmla="*/ 25 h 358"/>
                  <a:gd name="T46" fmla="*/ 254 w 349"/>
                  <a:gd name="T47" fmla="*/ 38 h 358"/>
                  <a:gd name="T48" fmla="*/ 259 w 349"/>
                  <a:gd name="T49" fmla="*/ 58 h 358"/>
                  <a:gd name="T50" fmla="*/ 260 w 349"/>
                  <a:gd name="T51" fmla="*/ 77 h 358"/>
                  <a:gd name="T52" fmla="*/ 275 w 349"/>
                  <a:gd name="T53" fmla="*/ 105 h 358"/>
                  <a:gd name="T54" fmla="*/ 298 w 349"/>
                  <a:gd name="T55" fmla="*/ 127 h 358"/>
                  <a:gd name="T56" fmla="*/ 322 w 349"/>
                  <a:gd name="T57" fmla="*/ 146 h 358"/>
                  <a:gd name="T58" fmla="*/ 334 w 349"/>
                  <a:gd name="T59" fmla="*/ 154 h 358"/>
                  <a:gd name="T60" fmla="*/ 344 w 349"/>
                  <a:gd name="T61" fmla="*/ 165 h 358"/>
                  <a:gd name="T62" fmla="*/ 347 w 349"/>
                  <a:gd name="T63" fmla="*/ 184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9" h="358">
                    <a:moveTo>
                      <a:pt x="347" y="184"/>
                    </a:moveTo>
                    <a:cubicBezTo>
                      <a:pt x="344" y="191"/>
                      <a:pt x="341" y="197"/>
                      <a:pt x="336" y="203"/>
                    </a:cubicBezTo>
                    <a:cubicBezTo>
                      <a:pt x="325" y="216"/>
                      <a:pt x="311" y="224"/>
                      <a:pt x="296" y="231"/>
                    </a:cubicBezTo>
                    <a:cubicBezTo>
                      <a:pt x="271" y="244"/>
                      <a:pt x="245" y="255"/>
                      <a:pt x="222" y="270"/>
                    </a:cubicBezTo>
                    <a:cubicBezTo>
                      <a:pt x="206" y="280"/>
                      <a:pt x="192" y="292"/>
                      <a:pt x="178" y="305"/>
                    </a:cubicBezTo>
                    <a:cubicBezTo>
                      <a:pt x="166" y="316"/>
                      <a:pt x="155" y="327"/>
                      <a:pt x="143" y="336"/>
                    </a:cubicBezTo>
                    <a:cubicBezTo>
                      <a:pt x="129" y="346"/>
                      <a:pt x="114" y="353"/>
                      <a:pt x="98" y="355"/>
                    </a:cubicBezTo>
                    <a:cubicBezTo>
                      <a:pt x="79" y="358"/>
                      <a:pt x="59" y="354"/>
                      <a:pt x="41" y="346"/>
                    </a:cubicBezTo>
                    <a:cubicBezTo>
                      <a:pt x="28" y="341"/>
                      <a:pt x="16" y="333"/>
                      <a:pt x="9" y="322"/>
                    </a:cubicBezTo>
                    <a:cubicBezTo>
                      <a:pt x="1" y="310"/>
                      <a:pt x="0" y="296"/>
                      <a:pt x="0" y="282"/>
                    </a:cubicBezTo>
                    <a:cubicBezTo>
                      <a:pt x="0" y="258"/>
                      <a:pt x="4" y="234"/>
                      <a:pt x="8" y="210"/>
                    </a:cubicBezTo>
                    <a:cubicBezTo>
                      <a:pt x="12" y="190"/>
                      <a:pt x="15" y="170"/>
                      <a:pt x="18" y="150"/>
                    </a:cubicBezTo>
                    <a:cubicBezTo>
                      <a:pt x="21" y="114"/>
                      <a:pt x="21" y="77"/>
                      <a:pt x="19" y="41"/>
                    </a:cubicBezTo>
                    <a:cubicBezTo>
                      <a:pt x="18" y="35"/>
                      <a:pt x="18" y="29"/>
                      <a:pt x="19" y="23"/>
                    </a:cubicBezTo>
                    <a:cubicBezTo>
                      <a:pt x="20" y="16"/>
                      <a:pt x="22" y="10"/>
                      <a:pt x="27" y="6"/>
                    </a:cubicBezTo>
                    <a:cubicBezTo>
                      <a:pt x="31" y="3"/>
                      <a:pt x="37" y="1"/>
                      <a:pt x="43" y="1"/>
                    </a:cubicBezTo>
                    <a:cubicBezTo>
                      <a:pt x="49" y="0"/>
                      <a:pt x="54" y="1"/>
                      <a:pt x="60" y="2"/>
                    </a:cubicBezTo>
                    <a:cubicBezTo>
                      <a:pt x="73" y="4"/>
                      <a:pt x="87" y="6"/>
                      <a:pt x="100" y="9"/>
                    </a:cubicBezTo>
                    <a:cubicBezTo>
                      <a:pt x="108" y="11"/>
                      <a:pt x="116" y="14"/>
                      <a:pt x="124" y="16"/>
                    </a:cubicBezTo>
                    <a:cubicBezTo>
                      <a:pt x="138" y="20"/>
                      <a:pt x="152" y="22"/>
                      <a:pt x="166" y="20"/>
                    </a:cubicBezTo>
                    <a:cubicBezTo>
                      <a:pt x="181" y="18"/>
                      <a:pt x="196" y="13"/>
                      <a:pt x="211" y="13"/>
                    </a:cubicBezTo>
                    <a:cubicBezTo>
                      <a:pt x="218" y="13"/>
                      <a:pt x="224" y="14"/>
                      <a:pt x="230" y="16"/>
                    </a:cubicBezTo>
                    <a:cubicBezTo>
                      <a:pt x="236" y="18"/>
                      <a:pt x="242" y="21"/>
                      <a:pt x="246" y="25"/>
                    </a:cubicBezTo>
                    <a:cubicBezTo>
                      <a:pt x="250" y="29"/>
                      <a:pt x="252" y="33"/>
                      <a:pt x="254" y="38"/>
                    </a:cubicBezTo>
                    <a:cubicBezTo>
                      <a:pt x="257" y="44"/>
                      <a:pt x="258" y="51"/>
                      <a:pt x="259" y="58"/>
                    </a:cubicBezTo>
                    <a:cubicBezTo>
                      <a:pt x="259" y="65"/>
                      <a:pt x="259" y="71"/>
                      <a:pt x="260" y="77"/>
                    </a:cubicBezTo>
                    <a:cubicBezTo>
                      <a:pt x="262" y="88"/>
                      <a:pt x="268" y="97"/>
                      <a:pt x="275" y="105"/>
                    </a:cubicBezTo>
                    <a:cubicBezTo>
                      <a:pt x="281" y="113"/>
                      <a:pt x="289" y="120"/>
                      <a:pt x="298" y="127"/>
                    </a:cubicBezTo>
                    <a:cubicBezTo>
                      <a:pt x="306" y="133"/>
                      <a:pt x="314" y="140"/>
                      <a:pt x="322" y="146"/>
                    </a:cubicBezTo>
                    <a:cubicBezTo>
                      <a:pt x="326" y="149"/>
                      <a:pt x="331" y="151"/>
                      <a:pt x="334" y="154"/>
                    </a:cubicBezTo>
                    <a:cubicBezTo>
                      <a:pt x="338" y="157"/>
                      <a:pt x="342" y="161"/>
                      <a:pt x="344" y="165"/>
                    </a:cubicBezTo>
                    <a:cubicBezTo>
                      <a:pt x="348" y="171"/>
                      <a:pt x="349" y="178"/>
                      <a:pt x="347" y="184"/>
                    </a:cubicBezTo>
                    <a:close/>
                  </a:path>
                </a:pathLst>
              </a:custGeom>
              <a:grpFill/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85" name="Freeform 20"/>
              <p:cNvSpPr>
                <a:spLocks/>
              </p:cNvSpPr>
              <p:nvPr/>
            </p:nvSpPr>
            <p:spPr bwMode="auto">
              <a:xfrm>
                <a:off x="2841625" y="3228975"/>
                <a:ext cx="246063" cy="387350"/>
              </a:xfrm>
              <a:custGeom>
                <a:avLst/>
                <a:gdLst>
                  <a:gd name="T0" fmla="*/ 35 w 85"/>
                  <a:gd name="T1" fmla="*/ 0 h 134"/>
                  <a:gd name="T2" fmla="*/ 16 w 85"/>
                  <a:gd name="T3" fmla="*/ 9 h 134"/>
                  <a:gd name="T4" fmla="*/ 5 w 85"/>
                  <a:gd name="T5" fmla="*/ 27 h 134"/>
                  <a:gd name="T6" fmla="*/ 2 w 85"/>
                  <a:gd name="T7" fmla="*/ 69 h 134"/>
                  <a:gd name="T8" fmla="*/ 9 w 85"/>
                  <a:gd name="T9" fmla="*/ 107 h 134"/>
                  <a:gd name="T10" fmla="*/ 19 w 85"/>
                  <a:gd name="T11" fmla="*/ 123 h 134"/>
                  <a:gd name="T12" fmla="*/ 36 w 85"/>
                  <a:gd name="T13" fmla="*/ 133 h 134"/>
                  <a:gd name="T14" fmla="*/ 54 w 85"/>
                  <a:gd name="T15" fmla="*/ 132 h 134"/>
                  <a:gd name="T16" fmla="*/ 69 w 85"/>
                  <a:gd name="T17" fmla="*/ 123 h 134"/>
                  <a:gd name="T18" fmla="*/ 82 w 85"/>
                  <a:gd name="T19" fmla="*/ 100 h 134"/>
                  <a:gd name="T20" fmla="*/ 85 w 85"/>
                  <a:gd name="T21" fmla="*/ 74 h 134"/>
                  <a:gd name="T22" fmla="*/ 80 w 85"/>
                  <a:gd name="T23" fmla="*/ 41 h 134"/>
                  <a:gd name="T24" fmla="*/ 63 w 85"/>
                  <a:gd name="T25" fmla="*/ 13 h 134"/>
                  <a:gd name="T26" fmla="*/ 50 w 85"/>
                  <a:gd name="T27" fmla="*/ 3 h 134"/>
                  <a:gd name="T28" fmla="*/ 35 w 85"/>
                  <a:gd name="T29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5" h="134">
                    <a:moveTo>
                      <a:pt x="35" y="0"/>
                    </a:moveTo>
                    <a:cubicBezTo>
                      <a:pt x="28" y="0"/>
                      <a:pt x="21" y="4"/>
                      <a:pt x="16" y="9"/>
                    </a:cubicBezTo>
                    <a:cubicBezTo>
                      <a:pt x="11" y="13"/>
                      <a:pt x="7" y="20"/>
                      <a:pt x="5" y="27"/>
                    </a:cubicBezTo>
                    <a:cubicBezTo>
                      <a:pt x="0" y="40"/>
                      <a:pt x="1" y="55"/>
                      <a:pt x="2" y="69"/>
                    </a:cubicBezTo>
                    <a:cubicBezTo>
                      <a:pt x="3" y="82"/>
                      <a:pt x="4" y="95"/>
                      <a:pt x="9" y="107"/>
                    </a:cubicBezTo>
                    <a:cubicBezTo>
                      <a:pt x="11" y="113"/>
                      <a:pt x="15" y="119"/>
                      <a:pt x="19" y="123"/>
                    </a:cubicBezTo>
                    <a:cubicBezTo>
                      <a:pt x="24" y="128"/>
                      <a:pt x="29" y="131"/>
                      <a:pt x="36" y="133"/>
                    </a:cubicBezTo>
                    <a:cubicBezTo>
                      <a:pt x="42" y="134"/>
                      <a:pt x="48" y="134"/>
                      <a:pt x="54" y="132"/>
                    </a:cubicBezTo>
                    <a:cubicBezTo>
                      <a:pt x="59" y="131"/>
                      <a:pt x="65" y="127"/>
                      <a:pt x="69" y="123"/>
                    </a:cubicBezTo>
                    <a:cubicBezTo>
                      <a:pt x="75" y="117"/>
                      <a:pt x="80" y="109"/>
                      <a:pt x="82" y="100"/>
                    </a:cubicBezTo>
                    <a:cubicBezTo>
                      <a:pt x="84" y="92"/>
                      <a:pt x="85" y="83"/>
                      <a:pt x="85" y="74"/>
                    </a:cubicBezTo>
                    <a:cubicBezTo>
                      <a:pt x="85" y="63"/>
                      <a:pt x="83" y="52"/>
                      <a:pt x="80" y="41"/>
                    </a:cubicBezTo>
                    <a:cubicBezTo>
                      <a:pt x="76" y="31"/>
                      <a:pt x="71" y="21"/>
                      <a:pt x="63" y="13"/>
                    </a:cubicBezTo>
                    <a:cubicBezTo>
                      <a:pt x="60" y="9"/>
                      <a:pt x="55" y="6"/>
                      <a:pt x="50" y="3"/>
                    </a:cubicBezTo>
                    <a:cubicBezTo>
                      <a:pt x="46" y="1"/>
                      <a:pt x="40" y="0"/>
                      <a:pt x="35" y="0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86" name="Freeform 21"/>
              <p:cNvSpPr>
                <a:spLocks/>
              </p:cNvSpPr>
              <p:nvPr/>
            </p:nvSpPr>
            <p:spPr bwMode="auto">
              <a:xfrm>
                <a:off x="3217863" y="3203575"/>
                <a:ext cx="336550" cy="411163"/>
              </a:xfrm>
              <a:custGeom>
                <a:avLst/>
                <a:gdLst>
                  <a:gd name="T0" fmla="*/ 31 w 116"/>
                  <a:gd name="T1" fmla="*/ 9 h 142"/>
                  <a:gd name="T2" fmla="*/ 6 w 116"/>
                  <a:gd name="T3" fmla="*/ 40 h 142"/>
                  <a:gd name="T4" fmla="*/ 8 w 116"/>
                  <a:gd name="T5" fmla="*/ 90 h 142"/>
                  <a:gd name="T6" fmla="*/ 38 w 116"/>
                  <a:gd name="T7" fmla="*/ 132 h 142"/>
                  <a:gd name="T8" fmla="*/ 62 w 116"/>
                  <a:gd name="T9" fmla="*/ 141 h 142"/>
                  <a:gd name="T10" fmla="*/ 87 w 116"/>
                  <a:gd name="T11" fmla="*/ 137 h 142"/>
                  <a:gd name="T12" fmla="*/ 108 w 116"/>
                  <a:gd name="T13" fmla="*/ 114 h 142"/>
                  <a:gd name="T14" fmla="*/ 115 w 116"/>
                  <a:gd name="T15" fmla="*/ 83 h 142"/>
                  <a:gd name="T16" fmla="*/ 110 w 116"/>
                  <a:gd name="T17" fmla="*/ 43 h 142"/>
                  <a:gd name="T18" fmla="*/ 84 w 116"/>
                  <a:gd name="T19" fmla="*/ 8 h 142"/>
                  <a:gd name="T20" fmla="*/ 64 w 116"/>
                  <a:gd name="T21" fmla="*/ 1 h 142"/>
                  <a:gd name="T22" fmla="*/ 42 w 116"/>
                  <a:gd name="T23" fmla="*/ 3 h 142"/>
                  <a:gd name="T24" fmla="*/ 31 w 116"/>
                  <a:gd name="T25" fmla="*/ 9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142">
                    <a:moveTo>
                      <a:pt x="31" y="9"/>
                    </a:moveTo>
                    <a:cubicBezTo>
                      <a:pt x="20" y="17"/>
                      <a:pt x="11" y="27"/>
                      <a:pt x="6" y="40"/>
                    </a:cubicBezTo>
                    <a:cubicBezTo>
                      <a:pt x="0" y="56"/>
                      <a:pt x="2" y="74"/>
                      <a:pt x="8" y="90"/>
                    </a:cubicBezTo>
                    <a:cubicBezTo>
                      <a:pt x="14" y="106"/>
                      <a:pt x="23" y="122"/>
                      <a:pt x="38" y="132"/>
                    </a:cubicBezTo>
                    <a:cubicBezTo>
                      <a:pt x="45" y="137"/>
                      <a:pt x="53" y="140"/>
                      <a:pt x="62" y="141"/>
                    </a:cubicBezTo>
                    <a:cubicBezTo>
                      <a:pt x="70" y="142"/>
                      <a:pt x="79" y="141"/>
                      <a:pt x="87" y="137"/>
                    </a:cubicBezTo>
                    <a:cubicBezTo>
                      <a:pt x="96" y="132"/>
                      <a:pt x="104" y="124"/>
                      <a:pt x="108" y="114"/>
                    </a:cubicBezTo>
                    <a:cubicBezTo>
                      <a:pt x="113" y="104"/>
                      <a:pt x="114" y="94"/>
                      <a:pt x="115" y="83"/>
                    </a:cubicBezTo>
                    <a:cubicBezTo>
                      <a:pt x="116" y="69"/>
                      <a:pt x="114" y="56"/>
                      <a:pt x="110" y="43"/>
                    </a:cubicBezTo>
                    <a:cubicBezTo>
                      <a:pt x="105" y="29"/>
                      <a:pt x="96" y="16"/>
                      <a:pt x="84" y="8"/>
                    </a:cubicBezTo>
                    <a:cubicBezTo>
                      <a:pt x="78" y="4"/>
                      <a:pt x="71" y="2"/>
                      <a:pt x="64" y="1"/>
                    </a:cubicBezTo>
                    <a:cubicBezTo>
                      <a:pt x="56" y="0"/>
                      <a:pt x="49" y="0"/>
                      <a:pt x="42" y="3"/>
                    </a:cubicBezTo>
                    <a:cubicBezTo>
                      <a:pt x="38" y="5"/>
                      <a:pt x="34" y="7"/>
                      <a:pt x="31" y="9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87" name="Freeform 22"/>
              <p:cNvSpPr>
                <a:spLocks/>
              </p:cNvSpPr>
              <p:nvPr/>
            </p:nvSpPr>
            <p:spPr bwMode="auto">
              <a:xfrm>
                <a:off x="2986088" y="3386138"/>
                <a:ext cx="357188" cy="260350"/>
              </a:xfrm>
              <a:custGeom>
                <a:avLst/>
                <a:gdLst>
                  <a:gd name="T0" fmla="*/ 18 w 123"/>
                  <a:gd name="T1" fmla="*/ 40 h 90"/>
                  <a:gd name="T2" fmla="*/ 37 w 123"/>
                  <a:gd name="T3" fmla="*/ 14 h 90"/>
                  <a:gd name="T4" fmla="*/ 49 w 123"/>
                  <a:gd name="T5" fmla="*/ 4 h 90"/>
                  <a:gd name="T6" fmla="*/ 64 w 123"/>
                  <a:gd name="T7" fmla="*/ 0 h 90"/>
                  <a:gd name="T8" fmla="*/ 80 w 123"/>
                  <a:gd name="T9" fmla="*/ 7 h 90"/>
                  <a:gd name="T10" fmla="*/ 90 w 123"/>
                  <a:gd name="T11" fmla="*/ 22 h 90"/>
                  <a:gd name="T12" fmla="*/ 98 w 123"/>
                  <a:gd name="T13" fmla="*/ 37 h 90"/>
                  <a:gd name="T14" fmla="*/ 112 w 123"/>
                  <a:gd name="T15" fmla="*/ 49 h 90"/>
                  <a:gd name="T16" fmla="*/ 118 w 123"/>
                  <a:gd name="T17" fmla="*/ 55 h 90"/>
                  <a:gd name="T18" fmla="*/ 122 w 123"/>
                  <a:gd name="T19" fmla="*/ 63 h 90"/>
                  <a:gd name="T20" fmla="*/ 122 w 123"/>
                  <a:gd name="T21" fmla="*/ 72 h 90"/>
                  <a:gd name="T22" fmla="*/ 117 w 123"/>
                  <a:gd name="T23" fmla="*/ 80 h 90"/>
                  <a:gd name="T24" fmla="*/ 100 w 123"/>
                  <a:gd name="T25" fmla="*/ 87 h 90"/>
                  <a:gd name="T26" fmla="*/ 63 w 123"/>
                  <a:gd name="T27" fmla="*/ 86 h 90"/>
                  <a:gd name="T28" fmla="*/ 26 w 123"/>
                  <a:gd name="T29" fmla="*/ 90 h 90"/>
                  <a:gd name="T30" fmla="*/ 9 w 123"/>
                  <a:gd name="T31" fmla="*/ 85 h 90"/>
                  <a:gd name="T32" fmla="*/ 2 w 123"/>
                  <a:gd name="T33" fmla="*/ 78 h 90"/>
                  <a:gd name="T34" fmla="*/ 0 w 123"/>
                  <a:gd name="T35" fmla="*/ 69 h 90"/>
                  <a:gd name="T36" fmla="*/ 1 w 123"/>
                  <a:gd name="T37" fmla="*/ 60 h 90"/>
                  <a:gd name="T38" fmla="*/ 6 w 123"/>
                  <a:gd name="T39" fmla="*/ 53 h 90"/>
                  <a:gd name="T40" fmla="*/ 18 w 123"/>
                  <a:gd name="T41" fmla="*/ 4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3" h="90">
                    <a:moveTo>
                      <a:pt x="18" y="40"/>
                    </a:moveTo>
                    <a:cubicBezTo>
                      <a:pt x="25" y="32"/>
                      <a:pt x="30" y="22"/>
                      <a:pt x="37" y="14"/>
                    </a:cubicBezTo>
                    <a:cubicBezTo>
                      <a:pt x="40" y="10"/>
                      <a:pt x="44" y="6"/>
                      <a:pt x="49" y="4"/>
                    </a:cubicBezTo>
                    <a:cubicBezTo>
                      <a:pt x="54" y="1"/>
                      <a:pt x="59" y="0"/>
                      <a:pt x="64" y="0"/>
                    </a:cubicBezTo>
                    <a:cubicBezTo>
                      <a:pt x="70" y="1"/>
                      <a:pt x="76" y="3"/>
                      <a:pt x="80" y="7"/>
                    </a:cubicBezTo>
                    <a:cubicBezTo>
                      <a:pt x="84" y="12"/>
                      <a:pt x="88" y="17"/>
                      <a:pt x="90" y="22"/>
                    </a:cubicBezTo>
                    <a:cubicBezTo>
                      <a:pt x="93" y="27"/>
                      <a:pt x="94" y="33"/>
                      <a:pt x="98" y="37"/>
                    </a:cubicBezTo>
                    <a:cubicBezTo>
                      <a:pt x="102" y="42"/>
                      <a:pt x="107" y="45"/>
                      <a:pt x="112" y="49"/>
                    </a:cubicBezTo>
                    <a:cubicBezTo>
                      <a:pt x="114" y="51"/>
                      <a:pt x="116" y="53"/>
                      <a:pt x="118" y="55"/>
                    </a:cubicBezTo>
                    <a:cubicBezTo>
                      <a:pt x="120" y="57"/>
                      <a:pt x="122" y="60"/>
                      <a:pt x="122" y="63"/>
                    </a:cubicBezTo>
                    <a:cubicBezTo>
                      <a:pt x="123" y="66"/>
                      <a:pt x="123" y="69"/>
                      <a:pt x="122" y="72"/>
                    </a:cubicBezTo>
                    <a:cubicBezTo>
                      <a:pt x="121" y="75"/>
                      <a:pt x="119" y="78"/>
                      <a:pt x="117" y="80"/>
                    </a:cubicBezTo>
                    <a:cubicBezTo>
                      <a:pt x="112" y="84"/>
                      <a:pt x="106" y="86"/>
                      <a:pt x="100" y="87"/>
                    </a:cubicBezTo>
                    <a:cubicBezTo>
                      <a:pt x="88" y="89"/>
                      <a:pt x="76" y="85"/>
                      <a:pt x="63" y="86"/>
                    </a:cubicBezTo>
                    <a:cubicBezTo>
                      <a:pt x="51" y="86"/>
                      <a:pt x="39" y="90"/>
                      <a:pt x="26" y="90"/>
                    </a:cubicBezTo>
                    <a:cubicBezTo>
                      <a:pt x="20" y="90"/>
                      <a:pt x="14" y="88"/>
                      <a:pt x="9" y="85"/>
                    </a:cubicBezTo>
                    <a:cubicBezTo>
                      <a:pt x="6" y="83"/>
                      <a:pt x="4" y="80"/>
                      <a:pt x="2" y="78"/>
                    </a:cubicBezTo>
                    <a:cubicBezTo>
                      <a:pt x="1" y="75"/>
                      <a:pt x="0" y="72"/>
                      <a:pt x="0" y="69"/>
                    </a:cubicBezTo>
                    <a:cubicBezTo>
                      <a:pt x="0" y="66"/>
                      <a:pt x="0" y="63"/>
                      <a:pt x="1" y="60"/>
                    </a:cubicBezTo>
                    <a:cubicBezTo>
                      <a:pt x="3" y="58"/>
                      <a:pt x="4" y="55"/>
                      <a:pt x="6" y="53"/>
                    </a:cubicBezTo>
                    <a:cubicBezTo>
                      <a:pt x="10" y="48"/>
                      <a:pt x="14" y="44"/>
                      <a:pt x="18" y="40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88" name="Freeform 23"/>
              <p:cNvSpPr>
                <a:spLocks/>
              </p:cNvSpPr>
              <p:nvPr/>
            </p:nvSpPr>
            <p:spPr bwMode="auto">
              <a:xfrm>
                <a:off x="3702050" y="3890963"/>
                <a:ext cx="719138" cy="1403350"/>
              </a:xfrm>
              <a:custGeom>
                <a:avLst/>
                <a:gdLst>
                  <a:gd name="T0" fmla="*/ 101 w 249"/>
                  <a:gd name="T1" fmla="*/ 183 h 485"/>
                  <a:gd name="T2" fmla="*/ 146 w 249"/>
                  <a:gd name="T3" fmla="*/ 263 h 485"/>
                  <a:gd name="T4" fmla="*/ 142 w 249"/>
                  <a:gd name="T5" fmla="*/ 336 h 485"/>
                  <a:gd name="T6" fmla="*/ 120 w 249"/>
                  <a:gd name="T7" fmla="*/ 405 h 485"/>
                  <a:gd name="T8" fmla="*/ 112 w 249"/>
                  <a:gd name="T9" fmla="*/ 433 h 485"/>
                  <a:gd name="T10" fmla="*/ 116 w 249"/>
                  <a:gd name="T11" fmla="*/ 462 h 485"/>
                  <a:gd name="T12" fmla="*/ 142 w 249"/>
                  <a:gd name="T13" fmla="*/ 482 h 485"/>
                  <a:gd name="T14" fmla="*/ 174 w 249"/>
                  <a:gd name="T15" fmla="*/ 482 h 485"/>
                  <a:gd name="T16" fmla="*/ 204 w 249"/>
                  <a:gd name="T17" fmla="*/ 467 h 485"/>
                  <a:gd name="T18" fmla="*/ 244 w 249"/>
                  <a:gd name="T19" fmla="*/ 396 h 485"/>
                  <a:gd name="T20" fmla="*/ 242 w 249"/>
                  <a:gd name="T21" fmla="*/ 313 h 485"/>
                  <a:gd name="T22" fmla="*/ 211 w 249"/>
                  <a:gd name="T23" fmla="*/ 203 h 485"/>
                  <a:gd name="T24" fmla="*/ 172 w 249"/>
                  <a:gd name="T25" fmla="*/ 129 h 485"/>
                  <a:gd name="T26" fmla="*/ 118 w 249"/>
                  <a:gd name="T27" fmla="*/ 66 h 485"/>
                  <a:gd name="T28" fmla="*/ 85 w 249"/>
                  <a:gd name="T29" fmla="*/ 20 h 485"/>
                  <a:gd name="T30" fmla="*/ 61 w 249"/>
                  <a:gd name="T31" fmla="*/ 4 h 485"/>
                  <a:gd name="T32" fmla="*/ 33 w 249"/>
                  <a:gd name="T33" fmla="*/ 3 h 485"/>
                  <a:gd name="T34" fmla="*/ 6 w 249"/>
                  <a:gd name="T35" fmla="*/ 27 h 485"/>
                  <a:gd name="T36" fmla="*/ 2 w 249"/>
                  <a:gd name="T37" fmla="*/ 64 h 485"/>
                  <a:gd name="T38" fmla="*/ 20 w 249"/>
                  <a:gd name="T39" fmla="*/ 108 h 485"/>
                  <a:gd name="T40" fmla="*/ 54 w 249"/>
                  <a:gd name="T41" fmla="*/ 151 h 485"/>
                  <a:gd name="T42" fmla="*/ 101 w 249"/>
                  <a:gd name="T43" fmla="*/ 183 h 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9" h="485">
                    <a:moveTo>
                      <a:pt x="101" y="183"/>
                    </a:moveTo>
                    <a:cubicBezTo>
                      <a:pt x="126" y="203"/>
                      <a:pt x="141" y="232"/>
                      <a:pt x="146" y="263"/>
                    </a:cubicBezTo>
                    <a:cubicBezTo>
                      <a:pt x="150" y="287"/>
                      <a:pt x="147" y="312"/>
                      <a:pt x="142" y="336"/>
                    </a:cubicBezTo>
                    <a:cubicBezTo>
                      <a:pt x="136" y="360"/>
                      <a:pt x="128" y="383"/>
                      <a:pt x="120" y="405"/>
                    </a:cubicBezTo>
                    <a:cubicBezTo>
                      <a:pt x="116" y="415"/>
                      <a:pt x="113" y="424"/>
                      <a:pt x="112" y="433"/>
                    </a:cubicBezTo>
                    <a:cubicBezTo>
                      <a:pt x="110" y="443"/>
                      <a:pt x="111" y="453"/>
                      <a:pt x="116" y="462"/>
                    </a:cubicBezTo>
                    <a:cubicBezTo>
                      <a:pt x="121" y="472"/>
                      <a:pt x="131" y="478"/>
                      <a:pt x="142" y="482"/>
                    </a:cubicBezTo>
                    <a:cubicBezTo>
                      <a:pt x="152" y="485"/>
                      <a:pt x="164" y="485"/>
                      <a:pt x="174" y="482"/>
                    </a:cubicBezTo>
                    <a:cubicBezTo>
                      <a:pt x="185" y="479"/>
                      <a:pt x="195" y="474"/>
                      <a:pt x="204" y="467"/>
                    </a:cubicBezTo>
                    <a:cubicBezTo>
                      <a:pt x="226" y="450"/>
                      <a:pt x="239" y="424"/>
                      <a:pt x="244" y="396"/>
                    </a:cubicBezTo>
                    <a:cubicBezTo>
                      <a:pt x="249" y="369"/>
                      <a:pt x="247" y="340"/>
                      <a:pt x="242" y="313"/>
                    </a:cubicBezTo>
                    <a:cubicBezTo>
                      <a:pt x="236" y="275"/>
                      <a:pt x="225" y="239"/>
                      <a:pt x="211" y="203"/>
                    </a:cubicBezTo>
                    <a:cubicBezTo>
                      <a:pt x="200" y="177"/>
                      <a:pt x="188" y="151"/>
                      <a:pt x="172" y="129"/>
                    </a:cubicBezTo>
                    <a:cubicBezTo>
                      <a:pt x="155" y="107"/>
                      <a:pt x="134" y="89"/>
                      <a:pt x="118" y="66"/>
                    </a:cubicBezTo>
                    <a:cubicBezTo>
                      <a:pt x="107" y="51"/>
                      <a:pt x="98" y="34"/>
                      <a:pt x="85" y="20"/>
                    </a:cubicBezTo>
                    <a:cubicBezTo>
                      <a:pt x="78" y="14"/>
                      <a:pt x="70" y="8"/>
                      <a:pt x="61" y="4"/>
                    </a:cubicBezTo>
                    <a:cubicBezTo>
                      <a:pt x="52" y="1"/>
                      <a:pt x="42" y="0"/>
                      <a:pt x="33" y="3"/>
                    </a:cubicBezTo>
                    <a:cubicBezTo>
                      <a:pt x="21" y="6"/>
                      <a:pt x="11" y="15"/>
                      <a:pt x="6" y="27"/>
                    </a:cubicBezTo>
                    <a:cubicBezTo>
                      <a:pt x="1" y="38"/>
                      <a:pt x="0" y="51"/>
                      <a:pt x="2" y="64"/>
                    </a:cubicBezTo>
                    <a:cubicBezTo>
                      <a:pt x="4" y="80"/>
                      <a:pt x="12" y="95"/>
                      <a:pt x="20" y="108"/>
                    </a:cubicBezTo>
                    <a:cubicBezTo>
                      <a:pt x="29" y="124"/>
                      <a:pt x="40" y="139"/>
                      <a:pt x="54" y="151"/>
                    </a:cubicBezTo>
                    <a:cubicBezTo>
                      <a:pt x="69" y="163"/>
                      <a:pt x="87" y="171"/>
                      <a:pt x="101" y="183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89" name="Freeform 24"/>
              <p:cNvSpPr>
                <a:spLocks/>
              </p:cNvSpPr>
              <p:nvPr/>
            </p:nvSpPr>
            <p:spPr bwMode="auto">
              <a:xfrm>
                <a:off x="3702050" y="5119688"/>
                <a:ext cx="1003300" cy="1035050"/>
              </a:xfrm>
              <a:custGeom>
                <a:avLst/>
                <a:gdLst>
                  <a:gd name="T0" fmla="*/ 345 w 347"/>
                  <a:gd name="T1" fmla="*/ 184 h 358"/>
                  <a:gd name="T2" fmla="*/ 334 w 347"/>
                  <a:gd name="T3" fmla="*/ 203 h 358"/>
                  <a:gd name="T4" fmla="*/ 294 w 347"/>
                  <a:gd name="T5" fmla="*/ 231 h 358"/>
                  <a:gd name="T6" fmla="*/ 220 w 347"/>
                  <a:gd name="T7" fmla="*/ 270 h 358"/>
                  <a:gd name="T8" fmla="*/ 177 w 347"/>
                  <a:gd name="T9" fmla="*/ 305 h 358"/>
                  <a:gd name="T10" fmla="*/ 142 w 347"/>
                  <a:gd name="T11" fmla="*/ 337 h 358"/>
                  <a:gd name="T12" fmla="*/ 98 w 347"/>
                  <a:gd name="T13" fmla="*/ 356 h 358"/>
                  <a:gd name="T14" fmla="*/ 41 w 347"/>
                  <a:gd name="T15" fmla="*/ 347 h 358"/>
                  <a:gd name="T16" fmla="*/ 9 w 347"/>
                  <a:gd name="T17" fmla="*/ 322 h 358"/>
                  <a:gd name="T18" fmla="*/ 0 w 347"/>
                  <a:gd name="T19" fmla="*/ 282 h 358"/>
                  <a:gd name="T20" fmla="*/ 8 w 347"/>
                  <a:gd name="T21" fmla="*/ 210 h 358"/>
                  <a:gd name="T22" fmla="*/ 18 w 347"/>
                  <a:gd name="T23" fmla="*/ 150 h 358"/>
                  <a:gd name="T24" fmla="*/ 19 w 347"/>
                  <a:gd name="T25" fmla="*/ 40 h 358"/>
                  <a:gd name="T26" fmla="*/ 19 w 347"/>
                  <a:gd name="T27" fmla="*/ 22 h 358"/>
                  <a:gd name="T28" fmla="*/ 27 w 347"/>
                  <a:gd name="T29" fmla="*/ 6 h 358"/>
                  <a:gd name="T30" fmla="*/ 43 w 347"/>
                  <a:gd name="T31" fmla="*/ 0 h 358"/>
                  <a:gd name="T32" fmla="*/ 60 w 347"/>
                  <a:gd name="T33" fmla="*/ 1 h 358"/>
                  <a:gd name="T34" fmla="*/ 99 w 347"/>
                  <a:gd name="T35" fmla="*/ 8 h 358"/>
                  <a:gd name="T36" fmla="*/ 123 w 347"/>
                  <a:gd name="T37" fmla="*/ 15 h 358"/>
                  <a:gd name="T38" fmla="*/ 165 w 347"/>
                  <a:gd name="T39" fmla="*/ 19 h 358"/>
                  <a:gd name="T40" fmla="*/ 210 w 347"/>
                  <a:gd name="T41" fmla="*/ 12 h 358"/>
                  <a:gd name="T42" fmla="*/ 229 w 347"/>
                  <a:gd name="T43" fmla="*/ 15 h 358"/>
                  <a:gd name="T44" fmla="*/ 245 w 347"/>
                  <a:gd name="T45" fmla="*/ 24 h 358"/>
                  <a:gd name="T46" fmla="*/ 253 w 347"/>
                  <a:gd name="T47" fmla="*/ 37 h 358"/>
                  <a:gd name="T48" fmla="*/ 257 w 347"/>
                  <a:gd name="T49" fmla="*/ 58 h 358"/>
                  <a:gd name="T50" fmla="*/ 259 w 347"/>
                  <a:gd name="T51" fmla="*/ 77 h 358"/>
                  <a:gd name="T52" fmla="*/ 273 w 347"/>
                  <a:gd name="T53" fmla="*/ 105 h 358"/>
                  <a:gd name="T54" fmla="*/ 296 w 347"/>
                  <a:gd name="T55" fmla="*/ 126 h 358"/>
                  <a:gd name="T56" fmla="*/ 320 w 347"/>
                  <a:gd name="T57" fmla="*/ 145 h 358"/>
                  <a:gd name="T58" fmla="*/ 333 w 347"/>
                  <a:gd name="T59" fmla="*/ 154 h 358"/>
                  <a:gd name="T60" fmla="*/ 342 w 347"/>
                  <a:gd name="T61" fmla="*/ 165 h 358"/>
                  <a:gd name="T62" fmla="*/ 345 w 347"/>
                  <a:gd name="T63" fmla="*/ 184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7" h="358">
                    <a:moveTo>
                      <a:pt x="345" y="184"/>
                    </a:moveTo>
                    <a:cubicBezTo>
                      <a:pt x="342" y="191"/>
                      <a:pt x="339" y="197"/>
                      <a:pt x="334" y="203"/>
                    </a:cubicBezTo>
                    <a:cubicBezTo>
                      <a:pt x="323" y="215"/>
                      <a:pt x="309" y="224"/>
                      <a:pt x="294" y="231"/>
                    </a:cubicBezTo>
                    <a:cubicBezTo>
                      <a:pt x="269" y="244"/>
                      <a:pt x="244" y="255"/>
                      <a:pt x="220" y="270"/>
                    </a:cubicBezTo>
                    <a:cubicBezTo>
                      <a:pt x="205" y="280"/>
                      <a:pt x="191" y="292"/>
                      <a:pt x="177" y="305"/>
                    </a:cubicBezTo>
                    <a:cubicBezTo>
                      <a:pt x="166" y="316"/>
                      <a:pt x="155" y="328"/>
                      <a:pt x="142" y="337"/>
                    </a:cubicBezTo>
                    <a:cubicBezTo>
                      <a:pt x="129" y="346"/>
                      <a:pt x="114" y="353"/>
                      <a:pt x="98" y="356"/>
                    </a:cubicBezTo>
                    <a:cubicBezTo>
                      <a:pt x="78" y="358"/>
                      <a:pt x="58" y="355"/>
                      <a:pt x="41" y="347"/>
                    </a:cubicBezTo>
                    <a:cubicBezTo>
                      <a:pt x="28" y="341"/>
                      <a:pt x="16" y="334"/>
                      <a:pt x="9" y="322"/>
                    </a:cubicBezTo>
                    <a:cubicBezTo>
                      <a:pt x="1" y="310"/>
                      <a:pt x="0" y="296"/>
                      <a:pt x="0" y="282"/>
                    </a:cubicBezTo>
                    <a:cubicBezTo>
                      <a:pt x="0" y="258"/>
                      <a:pt x="4" y="234"/>
                      <a:pt x="8" y="210"/>
                    </a:cubicBezTo>
                    <a:cubicBezTo>
                      <a:pt x="12" y="190"/>
                      <a:pt x="15" y="170"/>
                      <a:pt x="18" y="150"/>
                    </a:cubicBezTo>
                    <a:cubicBezTo>
                      <a:pt x="21" y="114"/>
                      <a:pt x="21" y="77"/>
                      <a:pt x="19" y="40"/>
                    </a:cubicBezTo>
                    <a:cubicBezTo>
                      <a:pt x="18" y="34"/>
                      <a:pt x="18" y="28"/>
                      <a:pt x="19" y="22"/>
                    </a:cubicBezTo>
                    <a:cubicBezTo>
                      <a:pt x="20" y="16"/>
                      <a:pt x="22" y="10"/>
                      <a:pt x="27" y="6"/>
                    </a:cubicBezTo>
                    <a:cubicBezTo>
                      <a:pt x="31" y="2"/>
                      <a:pt x="37" y="0"/>
                      <a:pt x="43" y="0"/>
                    </a:cubicBezTo>
                    <a:cubicBezTo>
                      <a:pt x="48" y="0"/>
                      <a:pt x="54" y="0"/>
                      <a:pt x="60" y="1"/>
                    </a:cubicBezTo>
                    <a:cubicBezTo>
                      <a:pt x="73" y="3"/>
                      <a:pt x="86" y="5"/>
                      <a:pt x="99" y="8"/>
                    </a:cubicBezTo>
                    <a:cubicBezTo>
                      <a:pt x="107" y="10"/>
                      <a:pt x="115" y="13"/>
                      <a:pt x="123" y="15"/>
                    </a:cubicBezTo>
                    <a:cubicBezTo>
                      <a:pt x="137" y="19"/>
                      <a:pt x="151" y="21"/>
                      <a:pt x="165" y="19"/>
                    </a:cubicBezTo>
                    <a:cubicBezTo>
                      <a:pt x="180" y="17"/>
                      <a:pt x="195" y="12"/>
                      <a:pt x="210" y="12"/>
                    </a:cubicBezTo>
                    <a:cubicBezTo>
                      <a:pt x="216" y="12"/>
                      <a:pt x="223" y="13"/>
                      <a:pt x="229" y="15"/>
                    </a:cubicBezTo>
                    <a:cubicBezTo>
                      <a:pt x="235" y="17"/>
                      <a:pt x="241" y="20"/>
                      <a:pt x="245" y="24"/>
                    </a:cubicBezTo>
                    <a:cubicBezTo>
                      <a:pt x="248" y="28"/>
                      <a:pt x="251" y="32"/>
                      <a:pt x="253" y="37"/>
                    </a:cubicBezTo>
                    <a:cubicBezTo>
                      <a:pt x="255" y="43"/>
                      <a:pt x="257" y="51"/>
                      <a:pt x="257" y="58"/>
                    </a:cubicBezTo>
                    <a:cubicBezTo>
                      <a:pt x="258" y="64"/>
                      <a:pt x="258" y="71"/>
                      <a:pt x="259" y="77"/>
                    </a:cubicBezTo>
                    <a:cubicBezTo>
                      <a:pt x="261" y="87"/>
                      <a:pt x="266" y="96"/>
                      <a:pt x="273" y="105"/>
                    </a:cubicBezTo>
                    <a:cubicBezTo>
                      <a:pt x="280" y="113"/>
                      <a:pt x="288" y="119"/>
                      <a:pt x="296" y="126"/>
                    </a:cubicBezTo>
                    <a:cubicBezTo>
                      <a:pt x="304" y="133"/>
                      <a:pt x="312" y="140"/>
                      <a:pt x="320" y="145"/>
                    </a:cubicBezTo>
                    <a:cubicBezTo>
                      <a:pt x="324" y="148"/>
                      <a:pt x="329" y="151"/>
                      <a:pt x="333" y="154"/>
                    </a:cubicBezTo>
                    <a:cubicBezTo>
                      <a:pt x="336" y="157"/>
                      <a:pt x="340" y="160"/>
                      <a:pt x="342" y="165"/>
                    </a:cubicBezTo>
                    <a:cubicBezTo>
                      <a:pt x="346" y="171"/>
                      <a:pt x="347" y="178"/>
                      <a:pt x="345" y="184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90" name="Freeform 25"/>
              <p:cNvSpPr>
                <a:spLocks/>
              </p:cNvSpPr>
              <p:nvPr/>
            </p:nvSpPr>
            <p:spPr bwMode="auto">
              <a:xfrm>
                <a:off x="3829050" y="4313238"/>
                <a:ext cx="330200" cy="936625"/>
              </a:xfrm>
              <a:custGeom>
                <a:avLst/>
                <a:gdLst>
                  <a:gd name="T0" fmla="*/ 0 w 114"/>
                  <a:gd name="T1" fmla="*/ 0 h 324"/>
                  <a:gd name="T2" fmla="*/ 6 w 114"/>
                  <a:gd name="T3" fmla="*/ 5 h 324"/>
                  <a:gd name="T4" fmla="*/ 44 w 114"/>
                  <a:gd name="T5" fmla="*/ 43 h 324"/>
                  <a:gd name="T6" fmla="*/ 99 w 114"/>
                  <a:gd name="T7" fmla="*/ 127 h 324"/>
                  <a:gd name="T8" fmla="*/ 92 w 114"/>
                  <a:gd name="T9" fmla="*/ 193 h 324"/>
                  <a:gd name="T10" fmla="*/ 59 w 114"/>
                  <a:gd name="T11" fmla="*/ 289 h 324"/>
                  <a:gd name="T12" fmla="*/ 65 w 114"/>
                  <a:gd name="T13" fmla="*/ 307 h 324"/>
                  <a:gd name="T14" fmla="*/ 65 w 114"/>
                  <a:gd name="T15" fmla="*/ 324 h 324"/>
                  <a:gd name="T16" fmla="*/ 65 w 114"/>
                  <a:gd name="T17" fmla="*/ 320 h 324"/>
                  <a:gd name="T18" fmla="*/ 77 w 114"/>
                  <a:gd name="T19" fmla="*/ 275 h 324"/>
                  <a:gd name="T20" fmla="*/ 107 w 114"/>
                  <a:gd name="T21" fmla="*/ 189 h 324"/>
                  <a:gd name="T22" fmla="*/ 109 w 114"/>
                  <a:gd name="T23" fmla="*/ 114 h 324"/>
                  <a:gd name="T24" fmla="*/ 60 w 114"/>
                  <a:gd name="T25" fmla="*/ 34 h 324"/>
                  <a:gd name="T26" fmla="*/ 0 w 114"/>
                  <a:gd name="T27" fmla="*/ 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4" h="324">
                    <a:moveTo>
                      <a:pt x="0" y="0"/>
                    </a:moveTo>
                    <a:cubicBezTo>
                      <a:pt x="2" y="1"/>
                      <a:pt x="4" y="3"/>
                      <a:pt x="6" y="5"/>
                    </a:cubicBezTo>
                    <a:cubicBezTo>
                      <a:pt x="21" y="17"/>
                      <a:pt x="29" y="31"/>
                      <a:pt x="44" y="43"/>
                    </a:cubicBezTo>
                    <a:cubicBezTo>
                      <a:pt x="69" y="63"/>
                      <a:pt x="94" y="96"/>
                      <a:pt x="99" y="127"/>
                    </a:cubicBezTo>
                    <a:cubicBezTo>
                      <a:pt x="103" y="151"/>
                      <a:pt x="98" y="164"/>
                      <a:pt x="92" y="193"/>
                    </a:cubicBezTo>
                    <a:cubicBezTo>
                      <a:pt x="86" y="221"/>
                      <a:pt x="68" y="261"/>
                      <a:pt x="59" y="289"/>
                    </a:cubicBezTo>
                    <a:cubicBezTo>
                      <a:pt x="55" y="300"/>
                      <a:pt x="66" y="295"/>
                      <a:pt x="65" y="307"/>
                    </a:cubicBezTo>
                    <a:cubicBezTo>
                      <a:pt x="64" y="312"/>
                      <a:pt x="64" y="318"/>
                      <a:pt x="65" y="324"/>
                    </a:cubicBezTo>
                    <a:cubicBezTo>
                      <a:pt x="65" y="323"/>
                      <a:pt x="65" y="322"/>
                      <a:pt x="65" y="320"/>
                    </a:cubicBezTo>
                    <a:cubicBezTo>
                      <a:pt x="67" y="305"/>
                      <a:pt x="72" y="290"/>
                      <a:pt x="77" y="275"/>
                    </a:cubicBezTo>
                    <a:cubicBezTo>
                      <a:pt x="87" y="246"/>
                      <a:pt x="99" y="218"/>
                      <a:pt x="107" y="189"/>
                    </a:cubicBezTo>
                    <a:cubicBezTo>
                      <a:pt x="114" y="160"/>
                      <a:pt x="114" y="139"/>
                      <a:pt x="109" y="114"/>
                    </a:cubicBezTo>
                    <a:cubicBezTo>
                      <a:pt x="104" y="82"/>
                      <a:pt x="86" y="53"/>
                      <a:pt x="60" y="34"/>
                    </a:cubicBezTo>
                    <a:cubicBezTo>
                      <a:pt x="41" y="20"/>
                      <a:pt x="20" y="12"/>
                      <a:pt x="0" y="0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91" name="Freeform 26"/>
              <p:cNvSpPr>
                <a:spLocks/>
              </p:cNvSpPr>
              <p:nvPr/>
            </p:nvSpPr>
            <p:spPr bwMode="auto">
              <a:xfrm>
                <a:off x="3938588" y="5019675"/>
                <a:ext cx="422275" cy="346075"/>
              </a:xfrm>
              <a:custGeom>
                <a:avLst/>
                <a:gdLst>
                  <a:gd name="T0" fmla="*/ 144 w 146"/>
                  <a:gd name="T1" fmla="*/ 33 h 120"/>
                  <a:gd name="T2" fmla="*/ 136 w 146"/>
                  <a:gd name="T3" fmla="*/ 21 h 120"/>
                  <a:gd name="T4" fmla="*/ 124 w 146"/>
                  <a:gd name="T5" fmla="*/ 14 h 120"/>
                  <a:gd name="T6" fmla="*/ 97 w 146"/>
                  <a:gd name="T7" fmla="*/ 7 h 120"/>
                  <a:gd name="T8" fmla="*/ 70 w 146"/>
                  <a:gd name="T9" fmla="*/ 2 h 120"/>
                  <a:gd name="T10" fmla="*/ 43 w 146"/>
                  <a:gd name="T11" fmla="*/ 2 h 120"/>
                  <a:gd name="T12" fmla="*/ 22 w 146"/>
                  <a:gd name="T13" fmla="*/ 13 h 120"/>
                  <a:gd name="T14" fmla="*/ 8 w 146"/>
                  <a:gd name="T15" fmla="*/ 32 h 120"/>
                  <a:gd name="T16" fmla="*/ 1 w 146"/>
                  <a:gd name="T17" fmla="*/ 74 h 120"/>
                  <a:gd name="T18" fmla="*/ 12 w 146"/>
                  <a:gd name="T19" fmla="*/ 103 h 120"/>
                  <a:gd name="T20" fmla="*/ 33 w 146"/>
                  <a:gd name="T21" fmla="*/ 116 h 120"/>
                  <a:gd name="T22" fmla="*/ 77 w 146"/>
                  <a:gd name="T23" fmla="*/ 116 h 120"/>
                  <a:gd name="T24" fmla="*/ 134 w 146"/>
                  <a:gd name="T25" fmla="*/ 73 h 120"/>
                  <a:gd name="T26" fmla="*/ 144 w 146"/>
                  <a:gd name="T27" fmla="*/ 51 h 120"/>
                  <a:gd name="T28" fmla="*/ 144 w 146"/>
                  <a:gd name="T29" fmla="*/ 33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6" h="120">
                    <a:moveTo>
                      <a:pt x="144" y="33"/>
                    </a:moveTo>
                    <a:cubicBezTo>
                      <a:pt x="142" y="28"/>
                      <a:pt x="139" y="25"/>
                      <a:pt x="136" y="21"/>
                    </a:cubicBezTo>
                    <a:cubicBezTo>
                      <a:pt x="132" y="18"/>
                      <a:pt x="128" y="16"/>
                      <a:pt x="124" y="14"/>
                    </a:cubicBezTo>
                    <a:cubicBezTo>
                      <a:pt x="115" y="10"/>
                      <a:pt x="106" y="9"/>
                      <a:pt x="97" y="7"/>
                    </a:cubicBezTo>
                    <a:cubicBezTo>
                      <a:pt x="88" y="6"/>
                      <a:pt x="79" y="4"/>
                      <a:pt x="70" y="2"/>
                    </a:cubicBezTo>
                    <a:cubicBezTo>
                      <a:pt x="61" y="1"/>
                      <a:pt x="52" y="0"/>
                      <a:pt x="43" y="2"/>
                    </a:cubicBezTo>
                    <a:cubicBezTo>
                      <a:pt x="35" y="3"/>
                      <a:pt x="28" y="7"/>
                      <a:pt x="22" y="13"/>
                    </a:cubicBezTo>
                    <a:cubicBezTo>
                      <a:pt x="16" y="18"/>
                      <a:pt x="11" y="25"/>
                      <a:pt x="8" y="32"/>
                    </a:cubicBezTo>
                    <a:cubicBezTo>
                      <a:pt x="2" y="45"/>
                      <a:pt x="0" y="60"/>
                      <a:pt x="1" y="74"/>
                    </a:cubicBezTo>
                    <a:cubicBezTo>
                      <a:pt x="2" y="85"/>
                      <a:pt x="5" y="95"/>
                      <a:pt x="12" y="103"/>
                    </a:cubicBezTo>
                    <a:cubicBezTo>
                      <a:pt x="17" y="110"/>
                      <a:pt x="25" y="114"/>
                      <a:pt x="33" y="116"/>
                    </a:cubicBezTo>
                    <a:cubicBezTo>
                      <a:pt x="48" y="120"/>
                      <a:pt x="63" y="120"/>
                      <a:pt x="77" y="116"/>
                    </a:cubicBezTo>
                    <a:cubicBezTo>
                      <a:pt x="100" y="108"/>
                      <a:pt x="120" y="93"/>
                      <a:pt x="134" y="73"/>
                    </a:cubicBezTo>
                    <a:cubicBezTo>
                      <a:pt x="139" y="66"/>
                      <a:pt x="143" y="59"/>
                      <a:pt x="144" y="51"/>
                    </a:cubicBezTo>
                    <a:cubicBezTo>
                      <a:pt x="146" y="45"/>
                      <a:pt x="146" y="39"/>
                      <a:pt x="144" y="33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92" name="Freeform 27"/>
              <p:cNvSpPr>
                <a:spLocks/>
              </p:cNvSpPr>
              <p:nvPr/>
            </p:nvSpPr>
            <p:spPr bwMode="auto">
              <a:xfrm>
                <a:off x="3956050" y="5005388"/>
                <a:ext cx="301625" cy="100013"/>
              </a:xfrm>
              <a:custGeom>
                <a:avLst/>
                <a:gdLst>
                  <a:gd name="T0" fmla="*/ 35 w 104"/>
                  <a:gd name="T1" fmla="*/ 3 h 35"/>
                  <a:gd name="T2" fmla="*/ 2 w 104"/>
                  <a:gd name="T3" fmla="*/ 26 h 35"/>
                  <a:gd name="T4" fmla="*/ 0 w 104"/>
                  <a:gd name="T5" fmla="*/ 35 h 35"/>
                  <a:gd name="T6" fmla="*/ 8 w 104"/>
                  <a:gd name="T7" fmla="*/ 31 h 35"/>
                  <a:gd name="T8" fmla="*/ 26 w 104"/>
                  <a:gd name="T9" fmla="*/ 20 h 35"/>
                  <a:gd name="T10" fmla="*/ 51 w 104"/>
                  <a:gd name="T11" fmla="*/ 14 h 35"/>
                  <a:gd name="T12" fmla="*/ 69 w 104"/>
                  <a:gd name="T13" fmla="*/ 13 h 35"/>
                  <a:gd name="T14" fmla="*/ 104 w 104"/>
                  <a:gd name="T15" fmla="*/ 14 h 35"/>
                  <a:gd name="T16" fmla="*/ 80 w 104"/>
                  <a:gd name="T17" fmla="*/ 6 h 35"/>
                  <a:gd name="T18" fmla="*/ 58 w 104"/>
                  <a:gd name="T19" fmla="*/ 1 h 35"/>
                  <a:gd name="T20" fmla="*/ 35 w 104"/>
                  <a:gd name="T21" fmla="*/ 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4" h="35">
                    <a:moveTo>
                      <a:pt x="35" y="3"/>
                    </a:moveTo>
                    <a:cubicBezTo>
                      <a:pt x="2" y="26"/>
                      <a:pt x="2" y="26"/>
                      <a:pt x="2" y="26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3" y="34"/>
                      <a:pt x="6" y="32"/>
                      <a:pt x="8" y="31"/>
                    </a:cubicBezTo>
                    <a:cubicBezTo>
                      <a:pt x="14" y="27"/>
                      <a:pt x="19" y="23"/>
                      <a:pt x="26" y="20"/>
                    </a:cubicBezTo>
                    <a:cubicBezTo>
                      <a:pt x="33" y="16"/>
                      <a:pt x="42" y="15"/>
                      <a:pt x="51" y="14"/>
                    </a:cubicBezTo>
                    <a:cubicBezTo>
                      <a:pt x="57" y="13"/>
                      <a:pt x="63" y="13"/>
                      <a:pt x="69" y="13"/>
                    </a:cubicBezTo>
                    <a:cubicBezTo>
                      <a:pt x="81" y="12"/>
                      <a:pt x="93" y="13"/>
                      <a:pt x="104" y="1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73" y="3"/>
                      <a:pt x="65" y="1"/>
                      <a:pt x="58" y="1"/>
                    </a:cubicBezTo>
                    <a:cubicBezTo>
                      <a:pt x="50" y="0"/>
                      <a:pt x="43" y="1"/>
                      <a:pt x="35" y="3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93" name="Freeform 28"/>
              <p:cNvSpPr>
                <a:spLocks/>
              </p:cNvSpPr>
              <p:nvPr/>
            </p:nvSpPr>
            <p:spPr bwMode="auto">
              <a:xfrm>
                <a:off x="2219325" y="4192588"/>
                <a:ext cx="600075" cy="1323975"/>
              </a:xfrm>
              <a:custGeom>
                <a:avLst/>
                <a:gdLst>
                  <a:gd name="T0" fmla="*/ 142 w 207"/>
                  <a:gd name="T1" fmla="*/ 0 h 458"/>
                  <a:gd name="T2" fmla="*/ 109 w 207"/>
                  <a:gd name="T3" fmla="*/ 42 h 458"/>
                  <a:gd name="T4" fmla="*/ 99 w 207"/>
                  <a:gd name="T5" fmla="*/ 49 h 458"/>
                  <a:gd name="T6" fmla="*/ 91 w 207"/>
                  <a:gd name="T7" fmla="*/ 58 h 458"/>
                  <a:gd name="T8" fmla="*/ 90 w 207"/>
                  <a:gd name="T9" fmla="*/ 60 h 458"/>
                  <a:gd name="T10" fmla="*/ 72 w 207"/>
                  <a:gd name="T11" fmla="*/ 115 h 458"/>
                  <a:gd name="T12" fmla="*/ 49 w 207"/>
                  <a:gd name="T13" fmla="*/ 176 h 458"/>
                  <a:gd name="T14" fmla="*/ 21 w 207"/>
                  <a:gd name="T15" fmla="*/ 231 h 458"/>
                  <a:gd name="T16" fmla="*/ 4 w 207"/>
                  <a:gd name="T17" fmla="*/ 271 h 458"/>
                  <a:gd name="T18" fmla="*/ 19 w 207"/>
                  <a:gd name="T19" fmla="*/ 339 h 458"/>
                  <a:gd name="T20" fmla="*/ 116 w 207"/>
                  <a:gd name="T21" fmla="*/ 430 h 458"/>
                  <a:gd name="T22" fmla="*/ 157 w 207"/>
                  <a:gd name="T23" fmla="*/ 450 h 458"/>
                  <a:gd name="T24" fmla="*/ 182 w 207"/>
                  <a:gd name="T25" fmla="*/ 458 h 458"/>
                  <a:gd name="T26" fmla="*/ 195 w 207"/>
                  <a:gd name="T27" fmla="*/ 456 h 458"/>
                  <a:gd name="T28" fmla="*/ 204 w 207"/>
                  <a:gd name="T29" fmla="*/ 447 h 458"/>
                  <a:gd name="T30" fmla="*/ 207 w 207"/>
                  <a:gd name="T31" fmla="*/ 434 h 458"/>
                  <a:gd name="T32" fmla="*/ 202 w 207"/>
                  <a:gd name="T33" fmla="*/ 422 h 458"/>
                  <a:gd name="T34" fmla="*/ 190 w 207"/>
                  <a:gd name="T35" fmla="*/ 409 h 458"/>
                  <a:gd name="T36" fmla="*/ 175 w 207"/>
                  <a:gd name="T37" fmla="*/ 398 h 458"/>
                  <a:gd name="T38" fmla="*/ 109 w 207"/>
                  <a:gd name="T39" fmla="*/ 321 h 458"/>
                  <a:gd name="T40" fmla="*/ 90 w 207"/>
                  <a:gd name="T41" fmla="*/ 295 h 458"/>
                  <a:gd name="T42" fmla="*/ 77 w 207"/>
                  <a:gd name="T43" fmla="*/ 263 h 458"/>
                  <a:gd name="T44" fmla="*/ 82 w 207"/>
                  <a:gd name="T45" fmla="*/ 177 h 458"/>
                  <a:gd name="T46" fmla="*/ 97 w 207"/>
                  <a:gd name="T47" fmla="*/ 142 h 458"/>
                  <a:gd name="T48" fmla="*/ 123 w 207"/>
                  <a:gd name="T49" fmla="*/ 71 h 458"/>
                  <a:gd name="T50" fmla="*/ 130 w 207"/>
                  <a:gd name="T51" fmla="*/ 50 h 458"/>
                  <a:gd name="T52" fmla="*/ 142 w 207"/>
                  <a:gd name="T53" fmla="*/ 0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7" h="458">
                    <a:moveTo>
                      <a:pt x="142" y="0"/>
                    </a:moveTo>
                    <a:cubicBezTo>
                      <a:pt x="135" y="16"/>
                      <a:pt x="123" y="31"/>
                      <a:pt x="109" y="42"/>
                    </a:cubicBezTo>
                    <a:cubicBezTo>
                      <a:pt x="105" y="44"/>
                      <a:pt x="102" y="46"/>
                      <a:pt x="99" y="49"/>
                    </a:cubicBezTo>
                    <a:cubicBezTo>
                      <a:pt x="95" y="51"/>
                      <a:pt x="93" y="54"/>
                      <a:pt x="91" y="58"/>
                    </a:cubicBezTo>
                    <a:cubicBezTo>
                      <a:pt x="90" y="58"/>
                      <a:pt x="90" y="59"/>
                      <a:pt x="90" y="60"/>
                    </a:cubicBezTo>
                    <a:cubicBezTo>
                      <a:pt x="81" y="77"/>
                      <a:pt x="78" y="96"/>
                      <a:pt x="72" y="115"/>
                    </a:cubicBezTo>
                    <a:cubicBezTo>
                      <a:pt x="66" y="136"/>
                      <a:pt x="58" y="157"/>
                      <a:pt x="49" y="176"/>
                    </a:cubicBezTo>
                    <a:cubicBezTo>
                      <a:pt x="40" y="195"/>
                      <a:pt x="30" y="213"/>
                      <a:pt x="21" y="231"/>
                    </a:cubicBezTo>
                    <a:cubicBezTo>
                      <a:pt x="14" y="244"/>
                      <a:pt x="7" y="257"/>
                      <a:pt x="4" y="271"/>
                    </a:cubicBezTo>
                    <a:cubicBezTo>
                      <a:pt x="0" y="295"/>
                      <a:pt x="8" y="318"/>
                      <a:pt x="19" y="339"/>
                    </a:cubicBezTo>
                    <a:cubicBezTo>
                      <a:pt x="42" y="378"/>
                      <a:pt x="77" y="408"/>
                      <a:pt x="116" y="430"/>
                    </a:cubicBezTo>
                    <a:cubicBezTo>
                      <a:pt x="130" y="437"/>
                      <a:pt x="143" y="444"/>
                      <a:pt x="157" y="450"/>
                    </a:cubicBezTo>
                    <a:cubicBezTo>
                      <a:pt x="165" y="454"/>
                      <a:pt x="173" y="457"/>
                      <a:pt x="182" y="458"/>
                    </a:cubicBezTo>
                    <a:cubicBezTo>
                      <a:pt x="186" y="458"/>
                      <a:pt x="191" y="457"/>
                      <a:pt x="195" y="456"/>
                    </a:cubicBezTo>
                    <a:cubicBezTo>
                      <a:pt x="199" y="454"/>
                      <a:pt x="202" y="451"/>
                      <a:pt x="204" y="447"/>
                    </a:cubicBezTo>
                    <a:cubicBezTo>
                      <a:pt x="207" y="443"/>
                      <a:pt x="207" y="439"/>
                      <a:pt x="207" y="434"/>
                    </a:cubicBezTo>
                    <a:cubicBezTo>
                      <a:pt x="206" y="430"/>
                      <a:pt x="205" y="425"/>
                      <a:pt x="202" y="422"/>
                    </a:cubicBezTo>
                    <a:cubicBezTo>
                      <a:pt x="199" y="416"/>
                      <a:pt x="194" y="412"/>
                      <a:pt x="190" y="409"/>
                    </a:cubicBezTo>
                    <a:cubicBezTo>
                      <a:pt x="185" y="405"/>
                      <a:pt x="180" y="402"/>
                      <a:pt x="175" y="398"/>
                    </a:cubicBezTo>
                    <a:cubicBezTo>
                      <a:pt x="147" y="378"/>
                      <a:pt x="129" y="349"/>
                      <a:pt x="109" y="321"/>
                    </a:cubicBezTo>
                    <a:cubicBezTo>
                      <a:pt x="102" y="313"/>
                      <a:pt x="96" y="304"/>
                      <a:pt x="90" y="295"/>
                    </a:cubicBezTo>
                    <a:cubicBezTo>
                      <a:pt x="84" y="285"/>
                      <a:pt x="80" y="274"/>
                      <a:pt x="77" y="263"/>
                    </a:cubicBezTo>
                    <a:cubicBezTo>
                      <a:pt x="69" y="235"/>
                      <a:pt x="72" y="204"/>
                      <a:pt x="82" y="177"/>
                    </a:cubicBezTo>
                    <a:cubicBezTo>
                      <a:pt x="86" y="165"/>
                      <a:pt x="92" y="154"/>
                      <a:pt x="97" y="142"/>
                    </a:cubicBezTo>
                    <a:cubicBezTo>
                      <a:pt x="107" y="119"/>
                      <a:pt x="115" y="95"/>
                      <a:pt x="123" y="71"/>
                    </a:cubicBezTo>
                    <a:cubicBezTo>
                      <a:pt x="125" y="64"/>
                      <a:pt x="128" y="57"/>
                      <a:pt x="130" y="50"/>
                    </a:cubicBezTo>
                    <a:cubicBezTo>
                      <a:pt x="135" y="33"/>
                      <a:pt x="139" y="17"/>
                      <a:pt x="142" y="0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94" name="Freeform 29"/>
              <p:cNvSpPr>
                <a:spLocks/>
              </p:cNvSpPr>
              <p:nvPr/>
            </p:nvSpPr>
            <p:spPr bwMode="auto">
              <a:xfrm>
                <a:off x="2201863" y="3946525"/>
                <a:ext cx="709613" cy="1662113"/>
              </a:xfrm>
              <a:custGeom>
                <a:avLst/>
                <a:gdLst>
                  <a:gd name="T0" fmla="*/ 193 w 245"/>
                  <a:gd name="T1" fmla="*/ 0 h 575"/>
                  <a:gd name="T2" fmla="*/ 160 w 245"/>
                  <a:gd name="T3" fmla="*/ 42 h 575"/>
                  <a:gd name="T4" fmla="*/ 125 w 245"/>
                  <a:gd name="T5" fmla="*/ 85 h 575"/>
                  <a:gd name="T6" fmla="*/ 88 w 245"/>
                  <a:gd name="T7" fmla="*/ 141 h 575"/>
                  <a:gd name="T8" fmla="*/ 70 w 245"/>
                  <a:gd name="T9" fmla="*/ 196 h 575"/>
                  <a:gd name="T10" fmla="*/ 47 w 245"/>
                  <a:gd name="T11" fmla="*/ 257 h 575"/>
                  <a:gd name="T12" fmla="*/ 19 w 245"/>
                  <a:gd name="T13" fmla="*/ 312 h 575"/>
                  <a:gd name="T14" fmla="*/ 2 w 245"/>
                  <a:gd name="T15" fmla="*/ 352 h 575"/>
                  <a:gd name="T16" fmla="*/ 5 w 245"/>
                  <a:gd name="T17" fmla="*/ 387 h 575"/>
                  <a:gd name="T18" fmla="*/ 17 w 245"/>
                  <a:gd name="T19" fmla="*/ 420 h 575"/>
                  <a:gd name="T20" fmla="*/ 114 w 245"/>
                  <a:gd name="T21" fmla="*/ 531 h 575"/>
                  <a:gd name="T22" fmla="*/ 173 w 245"/>
                  <a:gd name="T23" fmla="*/ 565 h 575"/>
                  <a:gd name="T24" fmla="*/ 208 w 245"/>
                  <a:gd name="T25" fmla="*/ 575 h 575"/>
                  <a:gd name="T26" fmla="*/ 226 w 245"/>
                  <a:gd name="T27" fmla="*/ 572 h 575"/>
                  <a:gd name="T28" fmla="*/ 240 w 245"/>
                  <a:gd name="T29" fmla="*/ 560 h 575"/>
                  <a:gd name="T30" fmla="*/ 244 w 245"/>
                  <a:gd name="T31" fmla="*/ 539 h 575"/>
                  <a:gd name="T32" fmla="*/ 237 w 245"/>
                  <a:gd name="T33" fmla="*/ 518 h 575"/>
                  <a:gd name="T34" fmla="*/ 198 w 245"/>
                  <a:gd name="T35" fmla="*/ 479 h 575"/>
                  <a:gd name="T36" fmla="*/ 107 w 245"/>
                  <a:gd name="T37" fmla="*/ 402 h 575"/>
                  <a:gd name="T38" fmla="*/ 85 w 245"/>
                  <a:gd name="T39" fmla="*/ 377 h 575"/>
                  <a:gd name="T40" fmla="*/ 74 w 245"/>
                  <a:gd name="T41" fmla="*/ 346 h 575"/>
                  <a:gd name="T42" fmla="*/ 80 w 245"/>
                  <a:gd name="T43" fmla="*/ 258 h 575"/>
                  <a:gd name="T44" fmla="*/ 94 w 245"/>
                  <a:gd name="T45" fmla="*/ 226 h 575"/>
                  <a:gd name="T46" fmla="*/ 122 w 245"/>
                  <a:gd name="T47" fmla="*/ 172 h 575"/>
                  <a:gd name="T48" fmla="*/ 167 w 245"/>
                  <a:gd name="T49" fmla="*/ 111 h 575"/>
                  <a:gd name="T50" fmla="*/ 184 w 245"/>
                  <a:gd name="T51" fmla="*/ 50 h 575"/>
                  <a:gd name="T52" fmla="*/ 193 w 245"/>
                  <a:gd name="T53" fmla="*/ 0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45" h="575">
                    <a:moveTo>
                      <a:pt x="193" y="0"/>
                    </a:moveTo>
                    <a:cubicBezTo>
                      <a:pt x="182" y="14"/>
                      <a:pt x="171" y="28"/>
                      <a:pt x="160" y="42"/>
                    </a:cubicBezTo>
                    <a:cubicBezTo>
                      <a:pt x="148" y="56"/>
                      <a:pt x="137" y="71"/>
                      <a:pt x="125" y="85"/>
                    </a:cubicBezTo>
                    <a:cubicBezTo>
                      <a:pt x="111" y="103"/>
                      <a:pt x="97" y="120"/>
                      <a:pt x="88" y="141"/>
                    </a:cubicBezTo>
                    <a:cubicBezTo>
                      <a:pt x="80" y="158"/>
                      <a:pt x="76" y="178"/>
                      <a:pt x="70" y="196"/>
                    </a:cubicBezTo>
                    <a:cubicBezTo>
                      <a:pt x="64" y="217"/>
                      <a:pt x="56" y="238"/>
                      <a:pt x="47" y="257"/>
                    </a:cubicBezTo>
                    <a:cubicBezTo>
                      <a:pt x="38" y="276"/>
                      <a:pt x="28" y="294"/>
                      <a:pt x="19" y="312"/>
                    </a:cubicBezTo>
                    <a:cubicBezTo>
                      <a:pt x="12" y="325"/>
                      <a:pt x="5" y="338"/>
                      <a:pt x="2" y="352"/>
                    </a:cubicBezTo>
                    <a:cubicBezTo>
                      <a:pt x="0" y="364"/>
                      <a:pt x="2" y="376"/>
                      <a:pt x="5" y="387"/>
                    </a:cubicBezTo>
                    <a:cubicBezTo>
                      <a:pt x="7" y="398"/>
                      <a:pt x="12" y="409"/>
                      <a:pt x="17" y="420"/>
                    </a:cubicBezTo>
                    <a:cubicBezTo>
                      <a:pt x="40" y="464"/>
                      <a:pt x="74" y="502"/>
                      <a:pt x="114" y="531"/>
                    </a:cubicBezTo>
                    <a:cubicBezTo>
                      <a:pt x="133" y="545"/>
                      <a:pt x="152" y="556"/>
                      <a:pt x="173" y="565"/>
                    </a:cubicBezTo>
                    <a:cubicBezTo>
                      <a:pt x="184" y="570"/>
                      <a:pt x="196" y="575"/>
                      <a:pt x="208" y="575"/>
                    </a:cubicBezTo>
                    <a:cubicBezTo>
                      <a:pt x="214" y="575"/>
                      <a:pt x="220" y="574"/>
                      <a:pt x="226" y="572"/>
                    </a:cubicBezTo>
                    <a:cubicBezTo>
                      <a:pt x="231" y="569"/>
                      <a:pt x="236" y="565"/>
                      <a:pt x="240" y="560"/>
                    </a:cubicBezTo>
                    <a:cubicBezTo>
                      <a:pt x="244" y="554"/>
                      <a:pt x="245" y="546"/>
                      <a:pt x="244" y="539"/>
                    </a:cubicBezTo>
                    <a:cubicBezTo>
                      <a:pt x="244" y="531"/>
                      <a:pt x="241" y="524"/>
                      <a:pt x="237" y="518"/>
                    </a:cubicBezTo>
                    <a:cubicBezTo>
                      <a:pt x="227" y="502"/>
                      <a:pt x="212" y="491"/>
                      <a:pt x="198" y="479"/>
                    </a:cubicBezTo>
                    <a:cubicBezTo>
                      <a:pt x="166" y="455"/>
                      <a:pt x="136" y="429"/>
                      <a:pt x="107" y="402"/>
                    </a:cubicBezTo>
                    <a:cubicBezTo>
                      <a:pt x="99" y="395"/>
                      <a:pt x="90" y="387"/>
                      <a:pt x="85" y="377"/>
                    </a:cubicBezTo>
                    <a:cubicBezTo>
                      <a:pt x="79" y="368"/>
                      <a:pt x="76" y="357"/>
                      <a:pt x="74" y="346"/>
                    </a:cubicBezTo>
                    <a:cubicBezTo>
                      <a:pt x="68" y="317"/>
                      <a:pt x="70" y="286"/>
                      <a:pt x="80" y="258"/>
                    </a:cubicBezTo>
                    <a:cubicBezTo>
                      <a:pt x="84" y="247"/>
                      <a:pt x="89" y="236"/>
                      <a:pt x="94" y="226"/>
                    </a:cubicBezTo>
                    <a:cubicBezTo>
                      <a:pt x="103" y="207"/>
                      <a:pt x="111" y="189"/>
                      <a:pt x="122" y="172"/>
                    </a:cubicBezTo>
                    <a:cubicBezTo>
                      <a:pt x="136" y="151"/>
                      <a:pt x="155" y="133"/>
                      <a:pt x="167" y="111"/>
                    </a:cubicBezTo>
                    <a:cubicBezTo>
                      <a:pt x="177" y="92"/>
                      <a:pt x="180" y="71"/>
                      <a:pt x="184" y="50"/>
                    </a:cubicBezTo>
                    <a:cubicBezTo>
                      <a:pt x="187" y="33"/>
                      <a:pt x="190" y="17"/>
                      <a:pt x="193" y="0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95" name="Freeform 30"/>
              <p:cNvSpPr>
                <a:spLocks/>
              </p:cNvSpPr>
              <p:nvPr/>
            </p:nvSpPr>
            <p:spPr bwMode="auto">
              <a:xfrm>
                <a:off x="1817688" y="5054600"/>
                <a:ext cx="1111250" cy="1095375"/>
              </a:xfrm>
              <a:custGeom>
                <a:avLst/>
                <a:gdLst>
                  <a:gd name="T0" fmla="*/ 162 w 384"/>
                  <a:gd name="T1" fmla="*/ 4 h 379"/>
                  <a:gd name="T2" fmla="*/ 183 w 384"/>
                  <a:gd name="T3" fmla="*/ 2 h 379"/>
                  <a:gd name="T4" fmla="*/ 202 w 384"/>
                  <a:gd name="T5" fmla="*/ 10 h 379"/>
                  <a:gd name="T6" fmla="*/ 230 w 384"/>
                  <a:gd name="T7" fmla="*/ 40 h 379"/>
                  <a:gd name="T8" fmla="*/ 283 w 384"/>
                  <a:gd name="T9" fmla="*/ 119 h 379"/>
                  <a:gd name="T10" fmla="*/ 323 w 384"/>
                  <a:gd name="T11" fmla="*/ 185 h 379"/>
                  <a:gd name="T12" fmla="*/ 355 w 384"/>
                  <a:gd name="T13" fmla="*/ 225 h 379"/>
                  <a:gd name="T14" fmla="*/ 378 w 384"/>
                  <a:gd name="T15" fmla="*/ 269 h 379"/>
                  <a:gd name="T16" fmla="*/ 372 w 384"/>
                  <a:gd name="T17" fmla="*/ 333 h 379"/>
                  <a:gd name="T18" fmla="*/ 340 w 384"/>
                  <a:gd name="T19" fmla="*/ 367 h 379"/>
                  <a:gd name="T20" fmla="*/ 296 w 384"/>
                  <a:gd name="T21" fmla="*/ 378 h 379"/>
                  <a:gd name="T22" fmla="*/ 227 w 384"/>
                  <a:gd name="T23" fmla="*/ 356 h 379"/>
                  <a:gd name="T24" fmla="*/ 82 w 384"/>
                  <a:gd name="T25" fmla="*/ 317 h 379"/>
                  <a:gd name="T26" fmla="*/ 39 w 384"/>
                  <a:gd name="T27" fmla="*/ 304 h 379"/>
                  <a:gd name="T28" fmla="*/ 19 w 384"/>
                  <a:gd name="T29" fmla="*/ 297 h 379"/>
                  <a:gd name="T30" fmla="*/ 4 w 384"/>
                  <a:gd name="T31" fmla="*/ 285 h 379"/>
                  <a:gd name="T32" fmla="*/ 0 w 384"/>
                  <a:gd name="T33" fmla="*/ 269 h 379"/>
                  <a:gd name="T34" fmla="*/ 3 w 384"/>
                  <a:gd name="T35" fmla="*/ 254 h 379"/>
                  <a:gd name="T36" fmla="*/ 16 w 384"/>
                  <a:gd name="T37" fmla="*/ 225 h 379"/>
                  <a:gd name="T38" fmla="*/ 23 w 384"/>
                  <a:gd name="T39" fmla="*/ 175 h 379"/>
                  <a:gd name="T40" fmla="*/ 18 w 384"/>
                  <a:gd name="T41" fmla="*/ 123 h 379"/>
                  <a:gd name="T42" fmla="*/ 19 w 384"/>
                  <a:gd name="T43" fmla="*/ 100 h 379"/>
                  <a:gd name="T44" fmla="*/ 29 w 384"/>
                  <a:gd name="T45" fmla="*/ 80 h 379"/>
                  <a:gd name="T46" fmla="*/ 48 w 384"/>
                  <a:gd name="T47" fmla="*/ 71 h 379"/>
                  <a:gd name="T48" fmla="*/ 69 w 384"/>
                  <a:gd name="T49" fmla="*/ 70 h 379"/>
                  <a:gd name="T50" fmla="*/ 90 w 384"/>
                  <a:gd name="T51" fmla="*/ 69 h 379"/>
                  <a:gd name="T52" fmla="*/ 111 w 384"/>
                  <a:gd name="T53" fmla="*/ 64 h 379"/>
                  <a:gd name="T54" fmla="*/ 125 w 384"/>
                  <a:gd name="T55" fmla="*/ 50 h 379"/>
                  <a:gd name="T56" fmla="*/ 136 w 384"/>
                  <a:gd name="T57" fmla="*/ 33 h 379"/>
                  <a:gd name="T58" fmla="*/ 147 w 384"/>
                  <a:gd name="T59" fmla="*/ 16 h 379"/>
                  <a:gd name="T60" fmla="*/ 162 w 384"/>
                  <a:gd name="T61" fmla="*/ 4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84" h="379">
                    <a:moveTo>
                      <a:pt x="162" y="4"/>
                    </a:moveTo>
                    <a:cubicBezTo>
                      <a:pt x="169" y="1"/>
                      <a:pt x="176" y="0"/>
                      <a:pt x="183" y="2"/>
                    </a:cubicBezTo>
                    <a:cubicBezTo>
                      <a:pt x="190" y="3"/>
                      <a:pt x="196" y="6"/>
                      <a:pt x="202" y="10"/>
                    </a:cubicBezTo>
                    <a:cubicBezTo>
                      <a:pt x="213" y="18"/>
                      <a:pt x="222" y="29"/>
                      <a:pt x="230" y="40"/>
                    </a:cubicBezTo>
                    <a:cubicBezTo>
                      <a:pt x="248" y="66"/>
                      <a:pt x="266" y="92"/>
                      <a:pt x="283" y="119"/>
                    </a:cubicBezTo>
                    <a:cubicBezTo>
                      <a:pt x="296" y="142"/>
                      <a:pt x="308" y="165"/>
                      <a:pt x="323" y="185"/>
                    </a:cubicBezTo>
                    <a:cubicBezTo>
                      <a:pt x="333" y="199"/>
                      <a:pt x="345" y="211"/>
                      <a:pt x="355" y="225"/>
                    </a:cubicBezTo>
                    <a:cubicBezTo>
                      <a:pt x="365" y="239"/>
                      <a:pt x="374" y="253"/>
                      <a:pt x="378" y="269"/>
                    </a:cubicBezTo>
                    <a:cubicBezTo>
                      <a:pt x="384" y="291"/>
                      <a:pt x="382" y="314"/>
                      <a:pt x="372" y="333"/>
                    </a:cubicBezTo>
                    <a:cubicBezTo>
                      <a:pt x="364" y="347"/>
                      <a:pt x="354" y="359"/>
                      <a:pt x="340" y="367"/>
                    </a:cubicBezTo>
                    <a:cubicBezTo>
                      <a:pt x="327" y="375"/>
                      <a:pt x="312" y="379"/>
                      <a:pt x="296" y="378"/>
                    </a:cubicBezTo>
                    <a:cubicBezTo>
                      <a:pt x="272" y="377"/>
                      <a:pt x="250" y="365"/>
                      <a:pt x="227" y="356"/>
                    </a:cubicBezTo>
                    <a:cubicBezTo>
                      <a:pt x="180" y="337"/>
                      <a:pt x="130" y="332"/>
                      <a:pt x="82" y="317"/>
                    </a:cubicBezTo>
                    <a:cubicBezTo>
                      <a:pt x="68" y="313"/>
                      <a:pt x="53" y="308"/>
                      <a:pt x="39" y="304"/>
                    </a:cubicBezTo>
                    <a:cubicBezTo>
                      <a:pt x="32" y="302"/>
                      <a:pt x="25" y="300"/>
                      <a:pt x="19" y="297"/>
                    </a:cubicBezTo>
                    <a:cubicBezTo>
                      <a:pt x="13" y="295"/>
                      <a:pt x="7" y="290"/>
                      <a:pt x="4" y="285"/>
                    </a:cubicBezTo>
                    <a:cubicBezTo>
                      <a:pt x="1" y="280"/>
                      <a:pt x="0" y="275"/>
                      <a:pt x="0" y="269"/>
                    </a:cubicBezTo>
                    <a:cubicBezTo>
                      <a:pt x="0" y="264"/>
                      <a:pt x="1" y="259"/>
                      <a:pt x="3" y="254"/>
                    </a:cubicBezTo>
                    <a:cubicBezTo>
                      <a:pt x="7" y="244"/>
                      <a:pt x="12" y="235"/>
                      <a:pt x="16" y="225"/>
                    </a:cubicBezTo>
                    <a:cubicBezTo>
                      <a:pt x="23" y="209"/>
                      <a:pt x="24" y="192"/>
                      <a:pt x="23" y="175"/>
                    </a:cubicBezTo>
                    <a:cubicBezTo>
                      <a:pt x="22" y="157"/>
                      <a:pt x="19" y="140"/>
                      <a:pt x="18" y="123"/>
                    </a:cubicBezTo>
                    <a:cubicBezTo>
                      <a:pt x="18" y="116"/>
                      <a:pt x="17" y="108"/>
                      <a:pt x="19" y="100"/>
                    </a:cubicBezTo>
                    <a:cubicBezTo>
                      <a:pt x="20" y="93"/>
                      <a:pt x="24" y="85"/>
                      <a:pt x="29" y="80"/>
                    </a:cubicBezTo>
                    <a:cubicBezTo>
                      <a:pt x="34" y="75"/>
                      <a:pt x="41" y="72"/>
                      <a:pt x="48" y="71"/>
                    </a:cubicBezTo>
                    <a:cubicBezTo>
                      <a:pt x="55" y="69"/>
                      <a:pt x="62" y="69"/>
                      <a:pt x="69" y="70"/>
                    </a:cubicBezTo>
                    <a:cubicBezTo>
                      <a:pt x="76" y="70"/>
                      <a:pt x="83" y="70"/>
                      <a:pt x="90" y="69"/>
                    </a:cubicBezTo>
                    <a:cubicBezTo>
                      <a:pt x="97" y="69"/>
                      <a:pt x="104" y="67"/>
                      <a:pt x="111" y="64"/>
                    </a:cubicBezTo>
                    <a:cubicBezTo>
                      <a:pt x="116" y="60"/>
                      <a:pt x="121" y="55"/>
                      <a:pt x="125" y="50"/>
                    </a:cubicBezTo>
                    <a:cubicBezTo>
                      <a:pt x="129" y="45"/>
                      <a:pt x="132" y="39"/>
                      <a:pt x="136" y="33"/>
                    </a:cubicBezTo>
                    <a:cubicBezTo>
                      <a:pt x="139" y="27"/>
                      <a:pt x="142" y="21"/>
                      <a:pt x="147" y="16"/>
                    </a:cubicBezTo>
                    <a:cubicBezTo>
                      <a:pt x="151" y="11"/>
                      <a:pt x="156" y="6"/>
                      <a:pt x="162" y="4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96" name="Freeform 31"/>
              <p:cNvSpPr>
                <a:spLocks/>
              </p:cNvSpPr>
              <p:nvPr/>
            </p:nvSpPr>
            <p:spPr bwMode="auto">
              <a:xfrm>
                <a:off x="3298825" y="3324225"/>
                <a:ext cx="188913" cy="225425"/>
              </a:xfrm>
              <a:custGeom>
                <a:avLst/>
                <a:gdLst>
                  <a:gd name="T0" fmla="*/ 29 w 65"/>
                  <a:gd name="T1" fmla="*/ 1 h 78"/>
                  <a:gd name="T2" fmla="*/ 17 w 65"/>
                  <a:gd name="T3" fmla="*/ 5 h 78"/>
                  <a:gd name="T4" fmla="*/ 8 w 65"/>
                  <a:gd name="T5" fmla="*/ 13 h 78"/>
                  <a:gd name="T6" fmla="*/ 1 w 65"/>
                  <a:gd name="T7" fmla="*/ 37 h 78"/>
                  <a:gd name="T8" fmla="*/ 3 w 65"/>
                  <a:gd name="T9" fmla="*/ 56 h 78"/>
                  <a:gd name="T10" fmla="*/ 14 w 65"/>
                  <a:gd name="T11" fmla="*/ 71 h 78"/>
                  <a:gd name="T12" fmla="*/ 31 w 65"/>
                  <a:gd name="T13" fmla="*/ 78 h 78"/>
                  <a:gd name="T14" fmla="*/ 50 w 65"/>
                  <a:gd name="T15" fmla="*/ 73 h 78"/>
                  <a:gd name="T16" fmla="*/ 60 w 65"/>
                  <a:gd name="T17" fmla="*/ 61 h 78"/>
                  <a:gd name="T18" fmla="*/ 64 w 65"/>
                  <a:gd name="T19" fmla="*/ 47 h 78"/>
                  <a:gd name="T20" fmla="*/ 60 w 65"/>
                  <a:gd name="T21" fmla="*/ 20 h 78"/>
                  <a:gd name="T22" fmla="*/ 40 w 65"/>
                  <a:gd name="T23" fmla="*/ 2 h 78"/>
                  <a:gd name="T24" fmla="*/ 29 w 65"/>
                  <a:gd name="T25" fmla="*/ 1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78">
                    <a:moveTo>
                      <a:pt x="29" y="1"/>
                    </a:moveTo>
                    <a:cubicBezTo>
                      <a:pt x="24" y="1"/>
                      <a:pt x="20" y="2"/>
                      <a:pt x="17" y="5"/>
                    </a:cubicBezTo>
                    <a:cubicBezTo>
                      <a:pt x="13" y="7"/>
                      <a:pt x="10" y="10"/>
                      <a:pt x="8" y="13"/>
                    </a:cubicBezTo>
                    <a:cubicBezTo>
                      <a:pt x="3" y="20"/>
                      <a:pt x="1" y="29"/>
                      <a:pt x="1" y="37"/>
                    </a:cubicBezTo>
                    <a:cubicBezTo>
                      <a:pt x="0" y="43"/>
                      <a:pt x="1" y="50"/>
                      <a:pt x="3" y="56"/>
                    </a:cubicBezTo>
                    <a:cubicBezTo>
                      <a:pt x="5" y="62"/>
                      <a:pt x="9" y="67"/>
                      <a:pt x="14" y="71"/>
                    </a:cubicBezTo>
                    <a:cubicBezTo>
                      <a:pt x="19" y="75"/>
                      <a:pt x="25" y="78"/>
                      <a:pt x="31" y="78"/>
                    </a:cubicBezTo>
                    <a:cubicBezTo>
                      <a:pt x="38" y="78"/>
                      <a:pt x="44" y="76"/>
                      <a:pt x="50" y="73"/>
                    </a:cubicBezTo>
                    <a:cubicBezTo>
                      <a:pt x="54" y="70"/>
                      <a:pt x="57" y="66"/>
                      <a:pt x="60" y="61"/>
                    </a:cubicBezTo>
                    <a:cubicBezTo>
                      <a:pt x="62" y="57"/>
                      <a:pt x="64" y="52"/>
                      <a:pt x="64" y="47"/>
                    </a:cubicBezTo>
                    <a:cubicBezTo>
                      <a:pt x="65" y="38"/>
                      <a:pt x="64" y="28"/>
                      <a:pt x="60" y="20"/>
                    </a:cubicBezTo>
                    <a:cubicBezTo>
                      <a:pt x="56" y="12"/>
                      <a:pt x="49" y="5"/>
                      <a:pt x="40" y="2"/>
                    </a:cubicBezTo>
                    <a:cubicBezTo>
                      <a:pt x="37" y="1"/>
                      <a:pt x="33" y="0"/>
                      <a:pt x="29" y="1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97" name="Freeform 32"/>
              <p:cNvSpPr>
                <a:spLocks/>
              </p:cNvSpPr>
              <p:nvPr/>
            </p:nvSpPr>
            <p:spPr bwMode="auto">
              <a:xfrm>
                <a:off x="3386138" y="3354388"/>
                <a:ext cx="77788" cy="82550"/>
              </a:xfrm>
              <a:custGeom>
                <a:avLst/>
                <a:gdLst>
                  <a:gd name="T0" fmla="*/ 2 w 27"/>
                  <a:gd name="T1" fmla="*/ 8 h 29"/>
                  <a:gd name="T2" fmla="*/ 9 w 27"/>
                  <a:gd name="T3" fmla="*/ 11 h 29"/>
                  <a:gd name="T4" fmla="*/ 14 w 27"/>
                  <a:gd name="T5" fmla="*/ 15 h 29"/>
                  <a:gd name="T6" fmla="*/ 20 w 27"/>
                  <a:gd name="T7" fmla="*/ 28 h 29"/>
                  <a:gd name="T8" fmla="*/ 24 w 27"/>
                  <a:gd name="T9" fmla="*/ 27 h 29"/>
                  <a:gd name="T10" fmla="*/ 20 w 27"/>
                  <a:gd name="T11" fmla="*/ 9 h 29"/>
                  <a:gd name="T12" fmla="*/ 8 w 27"/>
                  <a:gd name="T13" fmla="*/ 1 h 29"/>
                  <a:gd name="T14" fmla="*/ 1 w 27"/>
                  <a:gd name="T15" fmla="*/ 3 h 29"/>
                  <a:gd name="T16" fmla="*/ 2 w 27"/>
                  <a:gd name="T17" fmla="*/ 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29">
                    <a:moveTo>
                      <a:pt x="2" y="8"/>
                    </a:moveTo>
                    <a:cubicBezTo>
                      <a:pt x="4" y="10"/>
                      <a:pt x="7" y="9"/>
                      <a:pt x="9" y="11"/>
                    </a:cubicBezTo>
                    <a:cubicBezTo>
                      <a:pt x="11" y="12"/>
                      <a:pt x="13" y="13"/>
                      <a:pt x="14" y="15"/>
                    </a:cubicBezTo>
                    <a:cubicBezTo>
                      <a:pt x="17" y="19"/>
                      <a:pt x="16" y="26"/>
                      <a:pt x="20" y="28"/>
                    </a:cubicBezTo>
                    <a:cubicBezTo>
                      <a:pt x="22" y="29"/>
                      <a:pt x="24" y="28"/>
                      <a:pt x="24" y="27"/>
                    </a:cubicBezTo>
                    <a:cubicBezTo>
                      <a:pt x="27" y="21"/>
                      <a:pt x="23" y="14"/>
                      <a:pt x="20" y="9"/>
                    </a:cubicBezTo>
                    <a:cubicBezTo>
                      <a:pt x="17" y="5"/>
                      <a:pt x="12" y="1"/>
                      <a:pt x="8" y="1"/>
                    </a:cubicBezTo>
                    <a:cubicBezTo>
                      <a:pt x="5" y="0"/>
                      <a:pt x="2" y="1"/>
                      <a:pt x="1" y="3"/>
                    </a:cubicBezTo>
                    <a:cubicBezTo>
                      <a:pt x="0" y="4"/>
                      <a:pt x="1" y="6"/>
                      <a:pt x="2" y="8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98" name="Freeform 33"/>
              <p:cNvSpPr>
                <a:spLocks/>
              </p:cNvSpPr>
              <p:nvPr/>
            </p:nvSpPr>
            <p:spPr bwMode="auto">
              <a:xfrm>
                <a:off x="2887663" y="3336925"/>
                <a:ext cx="146050" cy="212725"/>
              </a:xfrm>
              <a:custGeom>
                <a:avLst/>
                <a:gdLst>
                  <a:gd name="T0" fmla="*/ 2 w 50"/>
                  <a:gd name="T1" fmla="*/ 22 h 74"/>
                  <a:gd name="T2" fmla="*/ 3 w 50"/>
                  <a:gd name="T3" fmla="*/ 49 h 74"/>
                  <a:gd name="T4" fmla="*/ 13 w 50"/>
                  <a:gd name="T5" fmla="*/ 64 h 74"/>
                  <a:gd name="T6" fmla="*/ 22 w 50"/>
                  <a:gd name="T7" fmla="*/ 71 h 74"/>
                  <a:gd name="T8" fmla="*/ 34 w 50"/>
                  <a:gd name="T9" fmla="*/ 73 h 74"/>
                  <a:gd name="T10" fmla="*/ 42 w 50"/>
                  <a:gd name="T11" fmla="*/ 67 h 74"/>
                  <a:gd name="T12" fmla="*/ 47 w 50"/>
                  <a:gd name="T13" fmla="*/ 57 h 74"/>
                  <a:gd name="T14" fmla="*/ 47 w 50"/>
                  <a:gd name="T15" fmla="*/ 25 h 74"/>
                  <a:gd name="T16" fmla="*/ 35 w 50"/>
                  <a:gd name="T17" fmla="*/ 6 h 74"/>
                  <a:gd name="T18" fmla="*/ 25 w 50"/>
                  <a:gd name="T19" fmla="*/ 1 h 74"/>
                  <a:gd name="T20" fmla="*/ 14 w 50"/>
                  <a:gd name="T21" fmla="*/ 2 h 74"/>
                  <a:gd name="T22" fmla="*/ 5 w 50"/>
                  <a:gd name="T23" fmla="*/ 10 h 74"/>
                  <a:gd name="T24" fmla="*/ 2 w 50"/>
                  <a:gd name="T25" fmla="*/ 2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74">
                    <a:moveTo>
                      <a:pt x="2" y="22"/>
                    </a:moveTo>
                    <a:cubicBezTo>
                      <a:pt x="0" y="31"/>
                      <a:pt x="0" y="40"/>
                      <a:pt x="3" y="49"/>
                    </a:cubicBezTo>
                    <a:cubicBezTo>
                      <a:pt x="5" y="55"/>
                      <a:pt x="9" y="60"/>
                      <a:pt x="13" y="64"/>
                    </a:cubicBezTo>
                    <a:cubicBezTo>
                      <a:pt x="15" y="67"/>
                      <a:pt x="19" y="70"/>
                      <a:pt x="22" y="71"/>
                    </a:cubicBezTo>
                    <a:cubicBezTo>
                      <a:pt x="26" y="73"/>
                      <a:pt x="30" y="74"/>
                      <a:pt x="34" y="73"/>
                    </a:cubicBezTo>
                    <a:cubicBezTo>
                      <a:pt x="37" y="72"/>
                      <a:pt x="40" y="70"/>
                      <a:pt x="42" y="67"/>
                    </a:cubicBezTo>
                    <a:cubicBezTo>
                      <a:pt x="45" y="64"/>
                      <a:pt x="46" y="61"/>
                      <a:pt x="47" y="57"/>
                    </a:cubicBezTo>
                    <a:cubicBezTo>
                      <a:pt x="50" y="47"/>
                      <a:pt x="50" y="36"/>
                      <a:pt x="47" y="25"/>
                    </a:cubicBezTo>
                    <a:cubicBezTo>
                      <a:pt x="44" y="18"/>
                      <a:pt x="41" y="11"/>
                      <a:pt x="35" y="6"/>
                    </a:cubicBezTo>
                    <a:cubicBezTo>
                      <a:pt x="32" y="3"/>
                      <a:pt x="28" y="1"/>
                      <a:pt x="25" y="1"/>
                    </a:cubicBezTo>
                    <a:cubicBezTo>
                      <a:pt x="21" y="0"/>
                      <a:pt x="17" y="0"/>
                      <a:pt x="14" y="2"/>
                    </a:cubicBezTo>
                    <a:cubicBezTo>
                      <a:pt x="10" y="3"/>
                      <a:pt x="7" y="6"/>
                      <a:pt x="5" y="10"/>
                    </a:cubicBezTo>
                    <a:cubicBezTo>
                      <a:pt x="3" y="14"/>
                      <a:pt x="2" y="18"/>
                      <a:pt x="2" y="22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00" name="Freeform 34"/>
              <p:cNvSpPr>
                <a:spLocks/>
              </p:cNvSpPr>
              <p:nvPr/>
            </p:nvSpPr>
            <p:spPr bwMode="auto">
              <a:xfrm>
                <a:off x="2957513" y="3362325"/>
                <a:ext cx="52388" cy="84138"/>
              </a:xfrm>
              <a:custGeom>
                <a:avLst/>
                <a:gdLst>
                  <a:gd name="T0" fmla="*/ 1 w 18"/>
                  <a:gd name="T1" fmla="*/ 5 h 29"/>
                  <a:gd name="T2" fmla="*/ 6 w 18"/>
                  <a:gd name="T3" fmla="*/ 10 h 29"/>
                  <a:gd name="T4" fmla="*/ 9 w 18"/>
                  <a:gd name="T5" fmla="*/ 15 h 29"/>
                  <a:gd name="T6" fmla="*/ 11 w 18"/>
                  <a:gd name="T7" fmla="*/ 28 h 29"/>
                  <a:gd name="T8" fmla="*/ 15 w 18"/>
                  <a:gd name="T9" fmla="*/ 28 h 29"/>
                  <a:gd name="T10" fmla="*/ 16 w 18"/>
                  <a:gd name="T11" fmla="*/ 12 h 29"/>
                  <a:gd name="T12" fmla="*/ 8 w 18"/>
                  <a:gd name="T13" fmla="*/ 2 h 29"/>
                  <a:gd name="T14" fmla="*/ 1 w 18"/>
                  <a:gd name="T15" fmla="*/ 1 h 29"/>
                  <a:gd name="T16" fmla="*/ 1 w 18"/>
                  <a:gd name="T17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29">
                    <a:moveTo>
                      <a:pt x="1" y="5"/>
                    </a:moveTo>
                    <a:cubicBezTo>
                      <a:pt x="2" y="8"/>
                      <a:pt x="4" y="8"/>
                      <a:pt x="6" y="10"/>
                    </a:cubicBezTo>
                    <a:cubicBezTo>
                      <a:pt x="7" y="12"/>
                      <a:pt x="9" y="13"/>
                      <a:pt x="9" y="15"/>
                    </a:cubicBezTo>
                    <a:cubicBezTo>
                      <a:pt x="11" y="19"/>
                      <a:pt x="8" y="25"/>
                      <a:pt x="11" y="28"/>
                    </a:cubicBezTo>
                    <a:cubicBezTo>
                      <a:pt x="12" y="29"/>
                      <a:pt x="14" y="29"/>
                      <a:pt x="15" y="28"/>
                    </a:cubicBezTo>
                    <a:cubicBezTo>
                      <a:pt x="18" y="24"/>
                      <a:pt x="18" y="17"/>
                      <a:pt x="16" y="12"/>
                    </a:cubicBezTo>
                    <a:cubicBezTo>
                      <a:pt x="15" y="8"/>
                      <a:pt x="12" y="4"/>
                      <a:pt x="8" y="2"/>
                    </a:cubicBezTo>
                    <a:cubicBezTo>
                      <a:pt x="6" y="1"/>
                      <a:pt x="3" y="0"/>
                      <a:pt x="1" y="1"/>
                    </a:cubicBezTo>
                    <a:cubicBezTo>
                      <a:pt x="0" y="2"/>
                      <a:pt x="1" y="4"/>
                      <a:pt x="1" y="5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01" name="Freeform 35"/>
              <p:cNvSpPr>
                <a:spLocks/>
              </p:cNvSpPr>
              <p:nvPr/>
            </p:nvSpPr>
            <p:spPr bwMode="auto">
              <a:xfrm>
                <a:off x="3411538" y="3128963"/>
                <a:ext cx="142875" cy="127000"/>
              </a:xfrm>
              <a:custGeom>
                <a:avLst/>
                <a:gdLst>
                  <a:gd name="T0" fmla="*/ 6 w 49"/>
                  <a:gd name="T1" fmla="*/ 0 h 44"/>
                  <a:gd name="T2" fmla="*/ 0 w 49"/>
                  <a:gd name="T3" fmla="*/ 3 h 44"/>
                  <a:gd name="T4" fmla="*/ 20 w 49"/>
                  <a:gd name="T5" fmla="*/ 11 h 44"/>
                  <a:gd name="T6" fmla="*/ 48 w 49"/>
                  <a:gd name="T7" fmla="*/ 44 h 44"/>
                  <a:gd name="T8" fmla="*/ 47 w 49"/>
                  <a:gd name="T9" fmla="*/ 34 h 44"/>
                  <a:gd name="T10" fmla="*/ 23 w 49"/>
                  <a:gd name="T11" fmla="*/ 4 h 44"/>
                  <a:gd name="T12" fmla="*/ 6 w 49"/>
                  <a:gd name="T13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44">
                    <a:moveTo>
                      <a:pt x="6" y="0"/>
                    </a:moveTo>
                    <a:cubicBezTo>
                      <a:pt x="4" y="0"/>
                      <a:pt x="1" y="0"/>
                      <a:pt x="0" y="3"/>
                    </a:cubicBezTo>
                    <a:cubicBezTo>
                      <a:pt x="7" y="4"/>
                      <a:pt x="14" y="7"/>
                      <a:pt x="20" y="11"/>
                    </a:cubicBezTo>
                    <a:cubicBezTo>
                      <a:pt x="32" y="19"/>
                      <a:pt x="41" y="31"/>
                      <a:pt x="48" y="44"/>
                    </a:cubicBezTo>
                    <a:cubicBezTo>
                      <a:pt x="49" y="42"/>
                      <a:pt x="48" y="37"/>
                      <a:pt x="47" y="34"/>
                    </a:cubicBezTo>
                    <a:cubicBezTo>
                      <a:pt x="42" y="22"/>
                      <a:pt x="36" y="13"/>
                      <a:pt x="23" y="4"/>
                    </a:cubicBezTo>
                    <a:cubicBezTo>
                      <a:pt x="17" y="0"/>
                      <a:pt x="12" y="0"/>
                      <a:pt x="6" y="0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02" name="Freeform 36"/>
              <p:cNvSpPr>
                <a:spLocks/>
              </p:cNvSpPr>
              <p:nvPr/>
            </p:nvSpPr>
            <p:spPr bwMode="auto">
              <a:xfrm>
                <a:off x="2940050" y="3154363"/>
                <a:ext cx="133350" cy="106363"/>
              </a:xfrm>
              <a:custGeom>
                <a:avLst/>
                <a:gdLst>
                  <a:gd name="T0" fmla="*/ 3 w 46"/>
                  <a:gd name="T1" fmla="*/ 1 h 37"/>
                  <a:gd name="T2" fmla="*/ 1 w 46"/>
                  <a:gd name="T3" fmla="*/ 1 h 37"/>
                  <a:gd name="T4" fmla="*/ 0 w 46"/>
                  <a:gd name="T5" fmla="*/ 1 h 37"/>
                  <a:gd name="T6" fmla="*/ 12 w 46"/>
                  <a:gd name="T7" fmla="*/ 4 h 37"/>
                  <a:gd name="T8" fmla="*/ 27 w 46"/>
                  <a:gd name="T9" fmla="*/ 13 h 37"/>
                  <a:gd name="T10" fmla="*/ 46 w 46"/>
                  <a:gd name="T11" fmla="*/ 37 h 37"/>
                  <a:gd name="T12" fmla="*/ 39 w 46"/>
                  <a:gd name="T13" fmla="*/ 18 h 37"/>
                  <a:gd name="T14" fmla="*/ 34 w 46"/>
                  <a:gd name="T15" fmla="*/ 13 h 37"/>
                  <a:gd name="T16" fmla="*/ 18 w 46"/>
                  <a:gd name="T17" fmla="*/ 4 h 37"/>
                  <a:gd name="T18" fmla="*/ 3 w 46"/>
                  <a:gd name="T19" fmla="*/ 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" h="37">
                    <a:moveTo>
                      <a:pt x="3" y="1"/>
                    </a:moveTo>
                    <a:cubicBezTo>
                      <a:pt x="3" y="0"/>
                      <a:pt x="2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4" y="1"/>
                      <a:pt x="8" y="2"/>
                      <a:pt x="12" y="4"/>
                    </a:cubicBezTo>
                    <a:cubicBezTo>
                      <a:pt x="18" y="6"/>
                      <a:pt x="23" y="9"/>
                      <a:pt x="27" y="13"/>
                    </a:cubicBezTo>
                    <a:cubicBezTo>
                      <a:pt x="36" y="20"/>
                      <a:pt x="42" y="28"/>
                      <a:pt x="46" y="37"/>
                    </a:cubicBezTo>
                    <a:cubicBezTo>
                      <a:pt x="45" y="30"/>
                      <a:pt x="43" y="24"/>
                      <a:pt x="39" y="18"/>
                    </a:cubicBezTo>
                    <a:cubicBezTo>
                      <a:pt x="38" y="16"/>
                      <a:pt x="36" y="15"/>
                      <a:pt x="34" y="13"/>
                    </a:cubicBezTo>
                    <a:cubicBezTo>
                      <a:pt x="29" y="10"/>
                      <a:pt x="24" y="6"/>
                      <a:pt x="18" y="4"/>
                    </a:cubicBezTo>
                    <a:cubicBezTo>
                      <a:pt x="14" y="2"/>
                      <a:pt x="9" y="1"/>
                      <a:pt x="3" y="1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03" name="Freeform 37"/>
              <p:cNvSpPr>
                <a:spLocks/>
              </p:cNvSpPr>
              <p:nvPr/>
            </p:nvSpPr>
            <p:spPr bwMode="auto">
              <a:xfrm>
                <a:off x="2836863" y="3443288"/>
                <a:ext cx="701675" cy="361950"/>
              </a:xfrm>
              <a:custGeom>
                <a:avLst/>
                <a:gdLst>
                  <a:gd name="T0" fmla="*/ 32 w 243"/>
                  <a:gd name="T1" fmla="*/ 41 h 125"/>
                  <a:gd name="T2" fmla="*/ 12 w 243"/>
                  <a:gd name="T3" fmla="*/ 60 h 125"/>
                  <a:gd name="T4" fmla="*/ 3 w 243"/>
                  <a:gd name="T5" fmla="*/ 72 h 125"/>
                  <a:gd name="T6" fmla="*/ 1 w 243"/>
                  <a:gd name="T7" fmla="*/ 86 h 125"/>
                  <a:gd name="T8" fmla="*/ 0 w 243"/>
                  <a:gd name="T9" fmla="*/ 91 h 125"/>
                  <a:gd name="T10" fmla="*/ 1 w 243"/>
                  <a:gd name="T11" fmla="*/ 93 h 125"/>
                  <a:gd name="T12" fmla="*/ 2 w 243"/>
                  <a:gd name="T13" fmla="*/ 95 h 125"/>
                  <a:gd name="T14" fmla="*/ 5 w 243"/>
                  <a:gd name="T15" fmla="*/ 97 h 125"/>
                  <a:gd name="T16" fmla="*/ 9 w 243"/>
                  <a:gd name="T17" fmla="*/ 97 h 125"/>
                  <a:gd name="T18" fmla="*/ 25 w 243"/>
                  <a:gd name="T19" fmla="*/ 104 h 125"/>
                  <a:gd name="T20" fmla="*/ 40 w 243"/>
                  <a:gd name="T21" fmla="*/ 114 h 125"/>
                  <a:gd name="T22" fmla="*/ 77 w 243"/>
                  <a:gd name="T23" fmla="*/ 125 h 125"/>
                  <a:gd name="T24" fmla="*/ 115 w 243"/>
                  <a:gd name="T25" fmla="*/ 121 h 125"/>
                  <a:gd name="T26" fmla="*/ 145 w 243"/>
                  <a:gd name="T27" fmla="*/ 113 h 125"/>
                  <a:gd name="T28" fmla="*/ 186 w 243"/>
                  <a:gd name="T29" fmla="*/ 88 h 125"/>
                  <a:gd name="T30" fmla="*/ 203 w 243"/>
                  <a:gd name="T31" fmla="*/ 75 h 125"/>
                  <a:gd name="T32" fmla="*/ 208 w 243"/>
                  <a:gd name="T33" fmla="*/ 70 h 125"/>
                  <a:gd name="T34" fmla="*/ 214 w 243"/>
                  <a:gd name="T35" fmla="*/ 66 h 125"/>
                  <a:gd name="T36" fmla="*/ 225 w 243"/>
                  <a:gd name="T37" fmla="*/ 66 h 125"/>
                  <a:gd name="T38" fmla="*/ 234 w 243"/>
                  <a:gd name="T39" fmla="*/ 67 h 125"/>
                  <a:gd name="T40" fmla="*/ 238 w 243"/>
                  <a:gd name="T41" fmla="*/ 66 h 125"/>
                  <a:gd name="T42" fmla="*/ 241 w 243"/>
                  <a:gd name="T43" fmla="*/ 64 h 125"/>
                  <a:gd name="T44" fmla="*/ 243 w 243"/>
                  <a:gd name="T45" fmla="*/ 58 h 125"/>
                  <a:gd name="T46" fmla="*/ 242 w 243"/>
                  <a:gd name="T47" fmla="*/ 53 h 125"/>
                  <a:gd name="T48" fmla="*/ 233 w 243"/>
                  <a:gd name="T49" fmla="*/ 46 h 125"/>
                  <a:gd name="T50" fmla="*/ 219 w 243"/>
                  <a:gd name="T51" fmla="*/ 42 h 125"/>
                  <a:gd name="T52" fmla="*/ 175 w 243"/>
                  <a:gd name="T53" fmla="*/ 26 h 125"/>
                  <a:gd name="T54" fmla="*/ 155 w 243"/>
                  <a:gd name="T55" fmla="*/ 15 h 125"/>
                  <a:gd name="T56" fmla="*/ 133 w 243"/>
                  <a:gd name="T57" fmla="*/ 6 h 125"/>
                  <a:gd name="T58" fmla="*/ 81 w 243"/>
                  <a:gd name="T59" fmla="*/ 8 h 125"/>
                  <a:gd name="T60" fmla="*/ 32 w 243"/>
                  <a:gd name="T61" fmla="*/ 41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43" h="125">
                    <a:moveTo>
                      <a:pt x="32" y="41"/>
                    </a:moveTo>
                    <a:cubicBezTo>
                      <a:pt x="25" y="47"/>
                      <a:pt x="18" y="53"/>
                      <a:pt x="12" y="60"/>
                    </a:cubicBezTo>
                    <a:cubicBezTo>
                      <a:pt x="8" y="63"/>
                      <a:pt x="4" y="67"/>
                      <a:pt x="3" y="72"/>
                    </a:cubicBezTo>
                    <a:cubicBezTo>
                      <a:pt x="1" y="77"/>
                      <a:pt x="2" y="81"/>
                      <a:pt x="1" y="86"/>
                    </a:cubicBezTo>
                    <a:cubicBezTo>
                      <a:pt x="1" y="87"/>
                      <a:pt x="0" y="89"/>
                      <a:pt x="0" y="91"/>
                    </a:cubicBezTo>
                    <a:cubicBezTo>
                      <a:pt x="0" y="91"/>
                      <a:pt x="0" y="92"/>
                      <a:pt x="1" y="93"/>
                    </a:cubicBezTo>
                    <a:cubicBezTo>
                      <a:pt x="1" y="94"/>
                      <a:pt x="1" y="94"/>
                      <a:pt x="2" y="95"/>
                    </a:cubicBezTo>
                    <a:cubicBezTo>
                      <a:pt x="3" y="96"/>
                      <a:pt x="4" y="96"/>
                      <a:pt x="5" y="97"/>
                    </a:cubicBezTo>
                    <a:cubicBezTo>
                      <a:pt x="7" y="97"/>
                      <a:pt x="8" y="97"/>
                      <a:pt x="9" y="97"/>
                    </a:cubicBezTo>
                    <a:cubicBezTo>
                      <a:pt x="15" y="98"/>
                      <a:pt x="20" y="101"/>
                      <a:pt x="25" y="104"/>
                    </a:cubicBezTo>
                    <a:cubicBezTo>
                      <a:pt x="30" y="107"/>
                      <a:pt x="35" y="111"/>
                      <a:pt x="40" y="114"/>
                    </a:cubicBezTo>
                    <a:cubicBezTo>
                      <a:pt x="51" y="121"/>
                      <a:pt x="64" y="124"/>
                      <a:pt x="77" y="125"/>
                    </a:cubicBezTo>
                    <a:cubicBezTo>
                      <a:pt x="90" y="125"/>
                      <a:pt x="103" y="123"/>
                      <a:pt x="115" y="121"/>
                    </a:cubicBezTo>
                    <a:cubicBezTo>
                      <a:pt x="126" y="119"/>
                      <a:pt x="136" y="116"/>
                      <a:pt x="145" y="113"/>
                    </a:cubicBezTo>
                    <a:cubicBezTo>
                      <a:pt x="160" y="107"/>
                      <a:pt x="173" y="98"/>
                      <a:pt x="186" y="88"/>
                    </a:cubicBezTo>
                    <a:cubicBezTo>
                      <a:pt x="192" y="84"/>
                      <a:pt x="198" y="80"/>
                      <a:pt x="203" y="75"/>
                    </a:cubicBezTo>
                    <a:cubicBezTo>
                      <a:pt x="204" y="73"/>
                      <a:pt x="206" y="71"/>
                      <a:pt x="208" y="70"/>
                    </a:cubicBezTo>
                    <a:cubicBezTo>
                      <a:pt x="210" y="68"/>
                      <a:pt x="212" y="67"/>
                      <a:pt x="214" y="66"/>
                    </a:cubicBezTo>
                    <a:cubicBezTo>
                      <a:pt x="218" y="65"/>
                      <a:pt x="222" y="65"/>
                      <a:pt x="225" y="66"/>
                    </a:cubicBezTo>
                    <a:cubicBezTo>
                      <a:pt x="228" y="66"/>
                      <a:pt x="231" y="67"/>
                      <a:pt x="234" y="67"/>
                    </a:cubicBezTo>
                    <a:cubicBezTo>
                      <a:pt x="235" y="67"/>
                      <a:pt x="237" y="66"/>
                      <a:pt x="238" y="66"/>
                    </a:cubicBezTo>
                    <a:cubicBezTo>
                      <a:pt x="239" y="65"/>
                      <a:pt x="240" y="65"/>
                      <a:pt x="241" y="64"/>
                    </a:cubicBezTo>
                    <a:cubicBezTo>
                      <a:pt x="242" y="62"/>
                      <a:pt x="243" y="60"/>
                      <a:pt x="243" y="58"/>
                    </a:cubicBezTo>
                    <a:cubicBezTo>
                      <a:pt x="243" y="57"/>
                      <a:pt x="242" y="55"/>
                      <a:pt x="242" y="53"/>
                    </a:cubicBezTo>
                    <a:cubicBezTo>
                      <a:pt x="240" y="50"/>
                      <a:pt x="236" y="48"/>
                      <a:pt x="233" y="46"/>
                    </a:cubicBezTo>
                    <a:cubicBezTo>
                      <a:pt x="228" y="44"/>
                      <a:pt x="223" y="43"/>
                      <a:pt x="219" y="42"/>
                    </a:cubicBezTo>
                    <a:cubicBezTo>
                      <a:pt x="203" y="38"/>
                      <a:pt x="189" y="33"/>
                      <a:pt x="175" y="26"/>
                    </a:cubicBezTo>
                    <a:cubicBezTo>
                      <a:pt x="168" y="23"/>
                      <a:pt x="161" y="19"/>
                      <a:pt x="155" y="15"/>
                    </a:cubicBezTo>
                    <a:cubicBezTo>
                      <a:pt x="148" y="12"/>
                      <a:pt x="140" y="8"/>
                      <a:pt x="133" y="6"/>
                    </a:cubicBezTo>
                    <a:cubicBezTo>
                      <a:pt x="116" y="0"/>
                      <a:pt x="97" y="2"/>
                      <a:pt x="81" y="8"/>
                    </a:cubicBezTo>
                    <a:cubicBezTo>
                      <a:pt x="62" y="14"/>
                      <a:pt x="45" y="26"/>
                      <a:pt x="32" y="41"/>
                    </a:cubicBezTo>
                    <a:close/>
                  </a:path>
                </a:pathLst>
              </a:custGeom>
              <a:grpFill/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04" name="Freeform 38"/>
              <p:cNvSpPr>
                <a:spLocks/>
              </p:cNvSpPr>
              <p:nvPr/>
            </p:nvSpPr>
            <p:spPr bwMode="auto">
              <a:xfrm>
                <a:off x="2836863" y="3630613"/>
                <a:ext cx="714375" cy="327025"/>
              </a:xfrm>
              <a:custGeom>
                <a:avLst/>
                <a:gdLst>
                  <a:gd name="T0" fmla="*/ 0 w 247"/>
                  <a:gd name="T1" fmla="*/ 42 h 113"/>
                  <a:gd name="T2" fmla="*/ 35 w 247"/>
                  <a:gd name="T3" fmla="*/ 72 h 113"/>
                  <a:gd name="T4" fmla="*/ 65 w 247"/>
                  <a:gd name="T5" fmla="*/ 102 h 113"/>
                  <a:gd name="T6" fmla="*/ 94 w 247"/>
                  <a:gd name="T7" fmla="*/ 112 h 113"/>
                  <a:gd name="T8" fmla="*/ 131 w 247"/>
                  <a:gd name="T9" fmla="*/ 108 h 113"/>
                  <a:gd name="T10" fmla="*/ 162 w 247"/>
                  <a:gd name="T11" fmla="*/ 96 h 113"/>
                  <a:gd name="T12" fmla="*/ 216 w 247"/>
                  <a:gd name="T13" fmla="*/ 63 h 113"/>
                  <a:gd name="T14" fmla="*/ 230 w 247"/>
                  <a:gd name="T15" fmla="*/ 59 h 113"/>
                  <a:gd name="T16" fmla="*/ 236 w 247"/>
                  <a:gd name="T17" fmla="*/ 55 h 113"/>
                  <a:gd name="T18" fmla="*/ 240 w 247"/>
                  <a:gd name="T19" fmla="*/ 50 h 113"/>
                  <a:gd name="T20" fmla="*/ 243 w 247"/>
                  <a:gd name="T21" fmla="*/ 37 h 113"/>
                  <a:gd name="T22" fmla="*/ 246 w 247"/>
                  <a:gd name="T23" fmla="*/ 24 h 113"/>
                  <a:gd name="T24" fmla="*/ 245 w 247"/>
                  <a:gd name="T25" fmla="*/ 11 h 113"/>
                  <a:gd name="T26" fmla="*/ 236 w 247"/>
                  <a:gd name="T27" fmla="*/ 2 h 113"/>
                  <a:gd name="T28" fmla="*/ 225 w 247"/>
                  <a:gd name="T29" fmla="*/ 0 h 113"/>
                  <a:gd name="T30" fmla="*/ 200 w 247"/>
                  <a:gd name="T31" fmla="*/ 3 h 113"/>
                  <a:gd name="T32" fmla="*/ 168 w 247"/>
                  <a:gd name="T33" fmla="*/ 3 h 113"/>
                  <a:gd name="T34" fmla="*/ 129 w 247"/>
                  <a:gd name="T35" fmla="*/ 6 h 113"/>
                  <a:gd name="T36" fmla="*/ 83 w 247"/>
                  <a:gd name="T37" fmla="*/ 4 h 113"/>
                  <a:gd name="T38" fmla="*/ 45 w 247"/>
                  <a:gd name="T39" fmla="*/ 12 h 113"/>
                  <a:gd name="T40" fmla="*/ 30 w 247"/>
                  <a:gd name="T41" fmla="*/ 23 h 113"/>
                  <a:gd name="T42" fmla="*/ 14 w 247"/>
                  <a:gd name="T43" fmla="*/ 31 h 113"/>
                  <a:gd name="T44" fmla="*/ 9 w 247"/>
                  <a:gd name="T45" fmla="*/ 31 h 113"/>
                  <a:gd name="T46" fmla="*/ 2 w 247"/>
                  <a:gd name="T47" fmla="*/ 35 h 113"/>
                  <a:gd name="T48" fmla="*/ 0 w 247"/>
                  <a:gd name="T49" fmla="*/ 42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47" h="113">
                    <a:moveTo>
                      <a:pt x="0" y="42"/>
                    </a:moveTo>
                    <a:cubicBezTo>
                      <a:pt x="13" y="50"/>
                      <a:pt x="25" y="60"/>
                      <a:pt x="35" y="72"/>
                    </a:cubicBezTo>
                    <a:cubicBezTo>
                      <a:pt x="45" y="82"/>
                      <a:pt x="53" y="95"/>
                      <a:pt x="65" y="102"/>
                    </a:cubicBezTo>
                    <a:cubicBezTo>
                      <a:pt x="74" y="108"/>
                      <a:pt x="84" y="111"/>
                      <a:pt x="94" y="112"/>
                    </a:cubicBezTo>
                    <a:cubicBezTo>
                      <a:pt x="106" y="113"/>
                      <a:pt x="119" y="111"/>
                      <a:pt x="131" y="108"/>
                    </a:cubicBezTo>
                    <a:cubicBezTo>
                      <a:pt x="142" y="105"/>
                      <a:pt x="152" y="101"/>
                      <a:pt x="162" y="96"/>
                    </a:cubicBezTo>
                    <a:cubicBezTo>
                      <a:pt x="180" y="85"/>
                      <a:pt x="196" y="69"/>
                      <a:pt x="216" y="63"/>
                    </a:cubicBezTo>
                    <a:cubicBezTo>
                      <a:pt x="221" y="61"/>
                      <a:pt x="225" y="60"/>
                      <a:pt x="230" y="59"/>
                    </a:cubicBezTo>
                    <a:cubicBezTo>
                      <a:pt x="232" y="58"/>
                      <a:pt x="234" y="56"/>
                      <a:pt x="236" y="55"/>
                    </a:cubicBezTo>
                    <a:cubicBezTo>
                      <a:pt x="238" y="54"/>
                      <a:pt x="239" y="52"/>
                      <a:pt x="240" y="50"/>
                    </a:cubicBezTo>
                    <a:cubicBezTo>
                      <a:pt x="242" y="46"/>
                      <a:pt x="242" y="41"/>
                      <a:pt x="243" y="37"/>
                    </a:cubicBezTo>
                    <a:cubicBezTo>
                      <a:pt x="243" y="33"/>
                      <a:pt x="245" y="29"/>
                      <a:pt x="246" y="24"/>
                    </a:cubicBezTo>
                    <a:cubicBezTo>
                      <a:pt x="246" y="20"/>
                      <a:pt x="247" y="15"/>
                      <a:pt x="245" y="11"/>
                    </a:cubicBezTo>
                    <a:cubicBezTo>
                      <a:pt x="243" y="7"/>
                      <a:pt x="240" y="4"/>
                      <a:pt x="236" y="2"/>
                    </a:cubicBezTo>
                    <a:cubicBezTo>
                      <a:pt x="233" y="1"/>
                      <a:pt x="229" y="0"/>
                      <a:pt x="225" y="0"/>
                    </a:cubicBezTo>
                    <a:cubicBezTo>
                      <a:pt x="216" y="0"/>
                      <a:pt x="208" y="2"/>
                      <a:pt x="200" y="3"/>
                    </a:cubicBezTo>
                    <a:cubicBezTo>
                      <a:pt x="190" y="4"/>
                      <a:pt x="179" y="2"/>
                      <a:pt x="168" y="3"/>
                    </a:cubicBezTo>
                    <a:cubicBezTo>
                      <a:pt x="155" y="3"/>
                      <a:pt x="142" y="6"/>
                      <a:pt x="129" y="6"/>
                    </a:cubicBezTo>
                    <a:cubicBezTo>
                      <a:pt x="113" y="7"/>
                      <a:pt x="98" y="5"/>
                      <a:pt x="83" y="4"/>
                    </a:cubicBezTo>
                    <a:cubicBezTo>
                      <a:pt x="70" y="4"/>
                      <a:pt x="56" y="5"/>
                      <a:pt x="45" y="12"/>
                    </a:cubicBezTo>
                    <a:cubicBezTo>
                      <a:pt x="40" y="15"/>
                      <a:pt x="35" y="19"/>
                      <a:pt x="30" y="23"/>
                    </a:cubicBezTo>
                    <a:cubicBezTo>
                      <a:pt x="26" y="27"/>
                      <a:pt x="20" y="30"/>
                      <a:pt x="14" y="31"/>
                    </a:cubicBezTo>
                    <a:cubicBezTo>
                      <a:pt x="12" y="31"/>
                      <a:pt x="10" y="30"/>
                      <a:pt x="9" y="31"/>
                    </a:cubicBezTo>
                    <a:cubicBezTo>
                      <a:pt x="6" y="31"/>
                      <a:pt x="4" y="33"/>
                      <a:pt x="2" y="35"/>
                    </a:cubicBezTo>
                    <a:cubicBezTo>
                      <a:pt x="1" y="37"/>
                      <a:pt x="0" y="39"/>
                      <a:pt x="0" y="42"/>
                    </a:cubicBezTo>
                    <a:close/>
                  </a:path>
                </a:pathLst>
              </a:custGeom>
              <a:grpFill/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05" name="Freeform 39"/>
              <p:cNvSpPr>
                <a:spLocks/>
              </p:cNvSpPr>
              <p:nvPr/>
            </p:nvSpPr>
            <p:spPr bwMode="auto">
              <a:xfrm>
                <a:off x="2838450" y="3594100"/>
                <a:ext cx="709613" cy="358775"/>
              </a:xfrm>
              <a:custGeom>
                <a:avLst/>
                <a:gdLst>
                  <a:gd name="T0" fmla="*/ 0 w 245"/>
                  <a:gd name="T1" fmla="*/ 45 h 124"/>
                  <a:gd name="T2" fmla="*/ 1 w 245"/>
                  <a:gd name="T3" fmla="*/ 48 h 124"/>
                  <a:gd name="T4" fmla="*/ 5 w 245"/>
                  <a:gd name="T5" fmla="*/ 53 h 124"/>
                  <a:gd name="T6" fmla="*/ 11 w 245"/>
                  <a:gd name="T7" fmla="*/ 56 h 124"/>
                  <a:gd name="T8" fmla="*/ 34 w 245"/>
                  <a:gd name="T9" fmla="*/ 79 h 124"/>
                  <a:gd name="T10" fmla="*/ 64 w 245"/>
                  <a:gd name="T11" fmla="*/ 112 h 124"/>
                  <a:gd name="T12" fmla="*/ 93 w 245"/>
                  <a:gd name="T13" fmla="*/ 123 h 124"/>
                  <a:gd name="T14" fmla="*/ 130 w 245"/>
                  <a:gd name="T15" fmla="*/ 119 h 124"/>
                  <a:gd name="T16" fmla="*/ 161 w 245"/>
                  <a:gd name="T17" fmla="*/ 105 h 124"/>
                  <a:gd name="T18" fmla="*/ 215 w 245"/>
                  <a:gd name="T19" fmla="*/ 69 h 124"/>
                  <a:gd name="T20" fmla="*/ 229 w 245"/>
                  <a:gd name="T21" fmla="*/ 64 h 124"/>
                  <a:gd name="T22" fmla="*/ 239 w 245"/>
                  <a:gd name="T23" fmla="*/ 55 h 124"/>
                  <a:gd name="T24" fmla="*/ 242 w 245"/>
                  <a:gd name="T25" fmla="*/ 42 h 124"/>
                  <a:gd name="T26" fmla="*/ 245 w 245"/>
                  <a:gd name="T27" fmla="*/ 24 h 124"/>
                  <a:gd name="T28" fmla="*/ 245 w 245"/>
                  <a:gd name="T29" fmla="*/ 15 h 124"/>
                  <a:gd name="T30" fmla="*/ 242 w 245"/>
                  <a:gd name="T31" fmla="*/ 7 h 124"/>
                  <a:gd name="T32" fmla="*/ 232 w 245"/>
                  <a:gd name="T33" fmla="*/ 1 h 124"/>
                  <a:gd name="T34" fmla="*/ 221 w 245"/>
                  <a:gd name="T35" fmla="*/ 0 h 124"/>
                  <a:gd name="T36" fmla="*/ 199 w 245"/>
                  <a:gd name="T37" fmla="*/ 4 h 124"/>
                  <a:gd name="T38" fmla="*/ 167 w 245"/>
                  <a:gd name="T39" fmla="*/ 4 h 124"/>
                  <a:gd name="T40" fmla="*/ 128 w 245"/>
                  <a:gd name="T41" fmla="*/ 8 h 124"/>
                  <a:gd name="T42" fmla="*/ 82 w 245"/>
                  <a:gd name="T43" fmla="*/ 6 h 124"/>
                  <a:gd name="T44" fmla="*/ 62 w 245"/>
                  <a:gd name="T45" fmla="*/ 7 h 124"/>
                  <a:gd name="T46" fmla="*/ 44 w 245"/>
                  <a:gd name="T47" fmla="*/ 14 h 124"/>
                  <a:gd name="T48" fmla="*/ 30 w 245"/>
                  <a:gd name="T49" fmla="*/ 27 h 124"/>
                  <a:gd name="T50" fmla="*/ 22 w 245"/>
                  <a:gd name="T51" fmla="*/ 32 h 124"/>
                  <a:gd name="T52" fmla="*/ 13 w 245"/>
                  <a:gd name="T53" fmla="*/ 34 h 124"/>
                  <a:gd name="T54" fmla="*/ 8 w 245"/>
                  <a:gd name="T55" fmla="*/ 34 h 124"/>
                  <a:gd name="T56" fmla="*/ 5 w 245"/>
                  <a:gd name="T57" fmla="*/ 36 h 124"/>
                  <a:gd name="T58" fmla="*/ 3 w 245"/>
                  <a:gd name="T59" fmla="*/ 39 h 124"/>
                  <a:gd name="T60" fmla="*/ 0 w 245"/>
                  <a:gd name="T61" fmla="*/ 45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45" h="124">
                    <a:moveTo>
                      <a:pt x="0" y="45"/>
                    </a:moveTo>
                    <a:cubicBezTo>
                      <a:pt x="0" y="46"/>
                      <a:pt x="0" y="47"/>
                      <a:pt x="1" y="48"/>
                    </a:cubicBezTo>
                    <a:cubicBezTo>
                      <a:pt x="2" y="50"/>
                      <a:pt x="4" y="51"/>
                      <a:pt x="5" y="53"/>
                    </a:cubicBezTo>
                    <a:cubicBezTo>
                      <a:pt x="7" y="54"/>
                      <a:pt x="9" y="55"/>
                      <a:pt x="11" y="56"/>
                    </a:cubicBezTo>
                    <a:cubicBezTo>
                      <a:pt x="20" y="62"/>
                      <a:pt x="28" y="70"/>
                      <a:pt x="34" y="79"/>
                    </a:cubicBezTo>
                    <a:cubicBezTo>
                      <a:pt x="44" y="91"/>
                      <a:pt x="52" y="104"/>
                      <a:pt x="64" y="112"/>
                    </a:cubicBezTo>
                    <a:cubicBezTo>
                      <a:pt x="72" y="118"/>
                      <a:pt x="83" y="122"/>
                      <a:pt x="93" y="123"/>
                    </a:cubicBezTo>
                    <a:cubicBezTo>
                      <a:pt x="105" y="124"/>
                      <a:pt x="118" y="122"/>
                      <a:pt x="130" y="119"/>
                    </a:cubicBezTo>
                    <a:cubicBezTo>
                      <a:pt x="141" y="115"/>
                      <a:pt x="151" y="111"/>
                      <a:pt x="161" y="105"/>
                    </a:cubicBezTo>
                    <a:cubicBezTo>
                      <a:pt x="180" y="93"/>
                      <a:pt x="195" y="77"/>
                      <a:pt x="215" y="69"/>
                    </a:cubicBezTo>
                    <a:cubicBezTo>
                      <a:pt x="220" y="68"/>
                      <a:pt x="225" y="66"/>
                      <a:pt x="229" y="64"/>
                    </a:cubicBezTo>
                    <a:cubicBezTo>
                      <a:pt x="233" y="62"/>
                      <a:pt x="237" y="59"/>
                      <a:pt x="239" y="55"/>
                    </a:cubicBezTo>
                    <a:cubicBezTo>
                      <a:pt x="241" y="51"/>
                      <a:pt x="241" y="46"/>
                      <a:pt x="242" y="42"/>
                    </a:cubicBezTo>
                    <a:cubicBezTo>
                      <a:pt x="242" y="36"/>
                      <a:pt x="244" y="30"/>
                      <a:pt x="245" y="24"/>
                    </a:cubicBezTo>
                    <a:cubicBezTo>
                      <a:pt x="245" y="21"/>
                      <a:pt x="245" y="18"/>
                      <a:pt x="245" y="15"/>
                    </a:cubicBezTo>
                    <a:cubicBezTo>
                      <a:pt x="244" y="13"/>
                      <a:pt x="243" y="10"/>
                      <a:pt x="242" y="7"/>
                    </a:cubicBezTo>
                    <a:cubicBezTo>
                      <a:pt x="239" y="4"/>
                      <a:pt x="236" y="2"/>
                      <a:pt x="232" y="1"/>
                    </a:cubicBezTo>
                    <a:cubicBezTo>
                      <a:pt x="229" y="0"/>
                      <a:pt x="225" y="0"/>
                      <a:pt x="221" y="0"/>
                    </a:cubicBezTo>
                    <a:cubicBezTo>
                      <a:pt x="214" y="1"/>
                      <a:pt x="207" y="3"/>
                      <a:pt x="199" y="4"/>
                    </a:cubicBezTo>
                    <a:cubicBezTo>
                      <a:pt x="189" y="6"/>
                      <a:pt x="178" y="4"/>
                      <a:pt x="167" y="4"/>
                    </a:cubicBezTo>
                    <a:cubicBezTo>
                      <a:pt x="154" y="4"/>
                      <a:pt x="141" y="7"/>
                      <a:pt x="128" y="8"/>
                    </a:cubicBezTo>
                    <a:cubicBezTo>
                      <a:pt x="112" y="9"/>
                      <a:pt x="97" y="7"/>
                      <a:pt x="82" y="6"/>
                    </a:cubicBezTo>
                    <a:cubicBezTo>
                      <a:pt x="75" y="6"/>
                      <a:pt x="69" y="6"/>
                      <a:pt x="62" y="7"/>
                    </a:cubicBezTo>
                    <a:cubicBezTo>
                      <a:pt x="56" y="8"/>
                      <a:pt x="50" y="10"/>
                      <a:pt x="44" y="14"/>
                    </a:cubicBezTo>
                    <a:cubicBezTo>
                      <a:pt x="39" y="17"/>
                      <a:pt x="35" y="22"/>
                      <a:pt x="30" y="27"/>
                    </a:cubicBezTo>
                    <a:cubicBezTo>
                      <a:pt x="27" y="29"/>
                      <a:pt x="25" y="31"/>
                      <a:pt x="22" y="32"/>
                    </a:cubicBezTo>
                    <a:cubicBezTo>
                      <a:pt x="19" y="33"/>
                      <a:pt x="16" y="34"/>
                      <a:pt x="13" y="34"/>
                    </a:cubicBezTo>
                    <a:cubicBezTo>
                      <a:pt x="11" y="34"/>
                      <a:pt x="9" y="34"/>
                      <a:pt x="8" y="34"/>
                    </a:cubicBezTo>
                    <a:cubicBezTo>
                      <a:pt x="7" y="35"/>
                      <a:pt x="6" y="35"/>
                      <a:pt x="5" y="36"/>
                    </a:cubicBezTo>
                    <a:cubicBezTo>
                      <a:pt x="4" y="37"/>
                      <a:pt x="4" y="38"/>
                      <a:pt x="3" y="39"/>
                    </a:cubicBezTo>
                    <a:cubicBezTo>
                      <a:pt x="2" y="41"/>
                      <a:pt x="1" y="43"/>
                      <a:pt x="0" y="45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06" name="Freeform 40"/>
              <p:cNvSpPr>
                <a:spLocks/>
              </p:cNvSpPr>
              <p:nvPr/>
            </p:nvSpPr>
            <p:spPr bwMode="auto">
              <a:xfrm>
                <a:off x="2865438" y="3562350"/>
                <a:ext cx="615950" cy="271463"/>
              </a:xfrm>
              <a:custGeom>
                <a:avLst/>
                <a:gdLst>
                  <a:gd name="T0" fmla="*/ 24 w 213"/>
                  <a:gd name="T1" fmla="*/ 22 h 94"/>
                  <a:gd name="T2" fmla="*/ 8 w 213"/>
                  <a:gd name="T3" fmla="*/ 33 h 94"/>
                  <a:gd name="T4" fmla="*/ 2 w 213"/>
                  <a:gd name="T5" fmla="*/ 39 h 94"/>
                  <a:gd name="T6" fmla="*/ 0 w 213"/>
                  <a:gd name="T7" fmla="*/ 46 h 94"/>
                  <a:gd name="T8" fmla="*/ 0 w 213"/>
                  <a:gd name="T9" fmla="*/ 53 h 94"/>
                  <a:gd name="T10" fmla="*/ 0 w 213"/>
                  <a:gd name="T11" fmla="*/ 58 h 94"/>
                  <a:gd name="T12" fmla="*/ 0 w 213"/>
                  <a:gd name="T13" fmla="*/ 60 h 94"/>
                  <a:gd name="T14" fmla="*/ 1 w 213"/>
                  <a:gd name="T15" fmla="*/ 62 h 94"/>
                  <a:gd name="T16" fmla="*/ 4 w 213"/>
                  <a:gd name="T17" fmla="*/ 63 h 94"/>
                  <a:gd name="T18" fmla="*/ 6 w 213"/>
                  <a:gd name="T19" fmla="*/ 64 h 94"/>
                  <a:gd name="T20" fmla="*/ 19 w 213"/>
                  <a:gd name="T21" fmla="*/ 71 h 94"/>
                  <a:gd name="T22" fmla="*/ 30 w 213"/>
                  <a:gd name="T23" fmla="*/ 81 h 94"/>
                  <a:gd name="T24" fmla="*/ 66 w 213"/>
                  <a:gd name="T25" fmla="*/ 93 h 94"/>
                  <a:gd name="T26" fmla="*/ 105 w 213"/>
                  <a:gd name="T27" fmla="*/ 88 h 94"/>
                  <a:gd name="T28" fmla="*/ 135 w 213"/>
                  <a:gd name="T29" fmla="*/ 80 h 94"/>
                  <a:gd name="T30" fmla="*/ 176 w 213"/>
                  <a:gd name="T31" fmla="*/ 55 h 94"/>
                  <a:gd name="T32" fmla="*/ 193 w 213"/>
                  <a:gd name="T33" fmla="*/ 42 h 94"/>
                  <a:gd name="T34" fmla="*/ 210 w 213"/>
                  <a:gd name="T35" fmla="*/ 33 h 94"/>
                  <a:gd name="T36" fmla="*/ 211 w 213"/>
                  <a:gd name="T37" fmla="*/ 32 h 94"/>
                  <a:gd name="T38" fmla="*/ 212 w 213"/>
                  <a:gd name="T39" fmla="*/ 31 h 94"/>
                  <a:gd name="T40" fmla="*/ 212 w 213"/>
                  <a:gd name="T41" fmla="*/ 28 h 94"/>
                  <a:gd name="T42" fmla="*/ 211 w 213"/>
                  <a:gd name="T43" fmla="*/ 25 h 94"/>
                  <a:gd name="T44" fmla="*/ 209 w 213"/>
                  <a:gd name="T45" fmla="*/ 23 h 94"/>
                  <a:gd name="T46" fmla="*/ 187 w 213"/>
                  <a:gd name="T47" fmla="*/ 16 h 94"/>
                  <a:gd name="T48" fmla="*/ 165 w 213"/>
                  <a:gd name="T49" fmla="*/ 14 h 94"/>
                  <a:gd name="T50" fmla="*/ 145 w 213"/>
                  <a:gd name="T51" fmla="*/ 8 h 94"/>
                  <a:gd name="T52" fmla="*/ 123 w 213"/>
                  <a:gd name="T53" fmla="*/ 3 h 94"/>
                  <a:gd name="T54" fmla="*/ 71 w 213"/>
                  <a:gd name="T55" fmla="*/ 4 h 94"/>
                  <a:gd name="T56" fmla="*/ 24 w 213"/>
                  <a:gd name="T57" fmla="*/ 2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13" h="94">
                    <a:moveTo>
                      <a:pt x="24" y="22"/>
                    </a:moveTo>
                    <a:cubicBezTo>
                      <a:pt x="19" y="25"/>
                      <a:pt x="14" y="29"/>
                      <a:pt x="8" y="33"/>
                    </a:cubicBezTo>
                    <a:cubicBezTo>
                      <a:pt x="6" y="34"/>
                      <a:pt x="3" y="36"/>
                      <a:pt x="2" y="39"/>
                    </a:cubicBezTo>
                    <a:cubicBezTo>
                      <a:pt x="1" y="41"/>
                      <a:pt x="0" y="44"/>
                      <a:pt x="0" y="46"/>
                    </a:cubicBezTo>
                    <a:cubicBezTo>
                      <a:pt x="0" y="48"/>
                      <a:pt x="1" y="51"/>
                      <a:pt x="0" y="53"/>
                    </a:cubicBezTo>
                    <a:cubicBezTo>
                      <a:pt x="0" y="54"/>
                      <a:pt x="0" y="56"/>
                      <a:pt x="0" y="58"/>
                    </a:cubicBezTo>
                    <a:cubicBezTo>
                      <a:pt x="0" y="58"/>
                      <a:pt x="0" y="59"/>
                      <a:pt x="0" y="60"/>
                    </a:cubicBezTo>
                    <a:cubicBezTo>
                      <a:pt x="0" y="61"/>
                      <a:pt x="0" y="61"/>
                      <a:pt x="1" y="62"/>
                    </a:cubicBezTo>
                    <a:cubicBezTo>
                      <a:pt x="2" y="63"/>
                      <a:pt x="3" y="63"/>
                      <a:pt x="4" y="63"/>
                    </a:cubicBezTo>
                    <a:cubicBezTo>
                      <a:pt x="4" y="64"/>
                      <a:pt x="5" y="64"/>
                      <a:pt x="6" y="64"/>
                    </a:cubicBezTo>
                    <a:cubicBezTo>
                      <a:pt x="11" y="65"/>
                      <a:pt x="15" y="68"/>
                      <a:pt x="19" y="71"/>
                    </a:cubicBezTo>
                    <a:cubicBezTo>
                      <a:pt x="23" y="75"/>
                      <a:pt x="26" y="78"/>
                      <a:pt x="30" y="81"/>
                    </a:cubicBezTo>
                    <a:cubicBezTo>
                      <a:pt x="40" y="90"/>
                      <a:pt x="53" y="93"/>
                      <a:pt x="66" y="93"/>
                    </a:cubicBezTo>
                    <a:cubicBezTo>
                      <a:pt x="80" y="94"/>
                      <a:pt x="93" y="91"/>
                      <a:pt x="105" y="88"/>
                    </a:cubicBezTo>
                    <a:cubicBezTo>
                      <a:pt x="116" y="86"/>
                      <a:pt x="126" y="83"/>
                      <a:pt x="135" y="80"/>
                    </a:cubicBezTo>
                    <a:cubicBezTo>
                      <a:pt x="150" y="74"/>
                      <a:pt x="164" y="66"/>
                      <a:pt x="176" y="55"/>
                    </a:cubicBezTo>
                    <a:cubicBezTo>
                      <a:pt x="181" y="51"/>
                      <a:pt x="187" y="46"/>
                      <a:pt x="193" y="42"/>
                    </a:cubicBezTo>
                    <a:cubicBezTo>
                      <a:pt x="198" y="38"/>
                      <a:pt x="204" y="36"/>
                      <a:pt x="210" y="33"/>
                    </a:cubicBezTo>
                    <a:cubicBezTo>
                      <a:pt x="210" y="33"/>
                      <a:pt x="211" y="32"/>
                      <a:pt x="211" y="32"/>
                    </a:cubicBezTo>
                    <a:cubicBezTo>
                      <a:pt x="211" y="31"/>
                      <a:pt x="212" y="31"/>
                      <a:pt x="212" y="31"/>
                    </a:cubicBezTo>
                    <a:cubicBezTo>
                      <a:pt x="213" y="30"/>
                      <a:pt x="213" y="29"/>
                      <a:pt x="212" y="28"/>
                    </a:cubicBezTo>
                    <a:cubicBezTo>
                      <a:pt x="212" y="27"/>
                      <a:pt x="211" y="26"/>
                      <a:pt x="211" y="25"/>
                    </a:cubicBezTo>
                    <a:cubicBezTo>
                      <a:pt x="210" y="24"/>
                      <a:pt x="209" y="24"/>
                      <a:pt x="209" y="23"/>
                    </a:cubicBezTo>
                    <a:cubicBezTo>
                      <a:pt x="203" y="18"/>
                      <a:pt x="195" y="16"/>
                      <a:pt x="187" y="16"/>
                    </a:cubicBezTo>
                    <a:cubicBezTo>
                      <a:pt x="180" y="15"/>
                      <a:pt x="172" y="15"/>
                      <a:pt x="165" y="14"/>
                    </a:cubicBezTo>
                    <a:cubicBezTo>
                      <a:pt x="158" y="13"/>
                      <a:pt x="151" y="10"/>
                      <a:pt x="145" y="8"/>
                    </a:cubicBezTo>
                    <a:cubicBezTo>
                      <a:pt x="137" y="6"/>
                      <a:pt x="130" y="4"/>
                      <a:pt x="123" y="3"/>
                    </a:cubicBezTo>
                    <a:cubicBezTo>
                      <a:pt x="106" y="0"/>
                      <a:pt x="88" y="1"/>
                      <a:pt x="71" y="4"/>
                    </a:cubicBezTo>
                    <a:cubicBezTo>
                      <a:pt x="54" y="8"/>
                      <a:pt x="38" y="14"/>
                      <a:pt x="24" y="22"/>
                    </a:cubicBezTo>
                    <a:close/>
                  </a:path>
                </a:pathLst>
              </a:custGeom>
              <a:grpFill/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07" name="Freeform 41"/>
              <p:cNvSpPr>
                <a:spLocks/>
              </p:cNvSpPr>
              <p:nvPr/>
            </p:nvSpPr>
            <p:spPr bwMode="auto">
              <a:xfrm>
                <a:off x="2836863" y="3457575"/>
                <a:ext cx="701675" cy="358775"/>
              </a:xfrm>
              <a:custGeom>
                <a:avLst/>
                <a:gdLst>
                  <a:gd name="T0" fmla="*/ 32 w 243"/>
                  <a:gd name="T1" fmla="*/ 40 h 124"/>
                  <a:gd name="T2" fmla="*/ 12 w 243"/>
                  <a:gd name="T3" fmla="*/ 59 h 124"/>
                  <a:gd name="T4" fmla="*/ 4 w 243"/>
                  <a:gd name="T5" fmla="*/ 73 h 124"/>
                  <a:gd name="T6" fmla="*/ 1 w 243"/>
                  <a:gd name="T7" fmla="*/ 85 h 124"/>
                  <a:gd name="T8" fmla="*/ 0 w 243"/>
                  <a:gd name="T9" fmla="*/ 90 h 124"/>
                  <a:gd name="T10" fmla="*/ 1 w 243"/>
                  <a:gd name="T11" fmla="*/ 92 h 124"/>
                  <a:gd name="T12" fmla="*/ 2 w 243"/>
                  <a:gd name="T13" fmla="*/ 94 h 124"/>
                  <a:gd name="T14" fmla="*/ 5 w 243"/>
                  <a:gd name="T15" fmla="*/ 96 h 124"/>
                  <a:gd name="T16" fmla="*/ 9 w 243"/>
                  <a:gd name="T17" fmla="*/ 96 h 124"/>
                  <a:gd name="T18" fmla="*/ 25 w 243"/>
                  <a:gd name="T19" fmla="*/ 103 h 124"/>
                  <a:gd name="T20" fmla="*/ 40 w 243"/>
                  <a:gd name="T21" fmla="*/ 113 h 124"/>
                  <a:gd name="T22" fmla="*/ 77 w 243"/>
                  <a:gd name="T23" fmla="*/ 124 h 124"/>
                  <a:gd name="T24" fmla="*/ 115 w 243"/>
                  <a:gd name="T25" fmla="*/ 120 h 124"/>
                  <a:gd name="T26" fmla="*/ 145 w 243"/>
                  <a:gd name="T27" fmla="*/ 112 h 124"/>
                  <a:gd name="T28" fmla="*/ 186 w 243"/>
                  <a:gd name="T29" fmla="*/ 87 h 124"/>
                  <a:gd name="T30" fmla="*/ 203 w 243"/>
                  <a:gd name="T31" fmla="*/ 74 h 124"/>
                  <a:gd name="T32" fmla="*/ 208 w 243"/>
                  <a:gd name="T33" fmla="*/ 69 h 124"/>
                  <a:gd name="T34" fmla="*/ 214 w 243"/>
                  <a:gd name="T35" fmla="*/ 65 h 124"/>
                  <a:gd name="T36" fmla="*/ 225 w 243"/>
                  <a:gd name="T37" fmla="*/ 65 h 124"/>
                  <a:gd name="T38" fmla="*/ 234 w 243"/>
                  <a:gd name="T39" fmla="*/ 66 h 124"/>
                  <a:gd name="T40" fmla="*/ 238 w 243"/>
                  <a:gd name="T41" fmla="*/ 65 h 124"/>
                  <a:gd name="T42" fmla="*/ 241 w 243"/>
                  <a:gd name="T43" fmla="*/ 63 h 124"/>
                  <a:gd name="T44" fmla="*/ 243 w 243"/>
                  <a:gd name="T45" fmla="*/ 57 h 124"/>
                  <a:gd name="T46" fmla="*/ 242 w 243"/>
                  <a:gd name="T47" fmla="*/ 52 h 124"/>
                  <a:gd name="T48" fmla="*/ 233 w 243"/>
                  <a:gd name="T49" fmla="*/ 45 h 124"/>
                  <a:gd name="T50" fmla="*/ 219 w 243"/>
                  <a:gd name="T51" fmla="*/ 41 h 124"/>
                  <a:gd name="T52" fmla="*/ 175 w 243"/>
                  <a:gd name="T53" fmla="*/ 25 h 124"/>
                  <a:gd name="T54" fmla="*/ 155 w 243"/>
                  <a:gd name="T55" fmla="*/ 14 h 124"/>
                  <a:gd name="T56" fmla="*/ 133 w 243"/>
                  <a:gd name="T57" fmla="*/ 5 h 124"/>
                  <a:gd name="T58" fmla="*/ 81 w 243"/>
                  <a:gd name="T59" fmla="*/ 7 h 124"/>
                  <a:gd name="T60" fmla="*/ 32 w 243"/>
                  <a:gd name="T61" fmla="*/ 4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43" h="124">
                    <a:moveTo>
                      <a:pt x="32" y="40"/>
                    </a:moveTo>
                    <a:cubicBezTo>
                      <a:pt x="25" y="45"/>
                      <a:pt x="18" y="52"/>
                      <a:pt x="12" y="59"/>
                    </a:cubicBezTo>
                    <a:cubicBezTo>
                      <a:pt x="8" y="63"/>
                      <a:pt x="5" y="67"/>
                      <a:pt x="4" y="73"/>
                    </a:cubicBezTo>
                    <a:cubicBezTo>
                      <a:pt x="2" y="77"/>
                      <a:pt x="2" y="81"/>
                      <a:pt x="1" y="85"/>
                    </a:cubicBezTo>
                    <a:cubicBezTo>
                      <a:pt x="1" y="86"/>
                      <a:pt x="0" y="88"/>
                      <a:pt x="0" y="90"/>
                    </a:cubicBezTo>
                    <a:cubicBezTo>
                      <a:pt x="0" y="90"/>
                      <a:pt x="0" y="91"/>
                      <a:pt x="1" y="92"/>
                    </a:cubicBezTo>
                    <a:cubicBezTo>
                      <a:pt x="1" y="93"/>
                      <a:pt x="1" y="93"/>
                      <a:pt x="2" y="94"/>
                    </a:cubicBezTo>
                    <a:cubicBezTo>
                      <a:pt x="3" y="95"/>
                      <a:pt x="4" y="95"/>
                      <a:pt x="5" y="96"/>
                    </a:cubicBezTo>
                    <a:cubicBezTo>
                      <a:pt x="7" y="96"/>
                      <a:pt x="8" y="96"/>
                      <a:pt x="9" y="96"/>
                    </a:cubicBezTo>
                    <a:cubicBezTo>
                      <a:pt x="15" y="97"/>
                      <a:pt x="20" y="100"/>
                      <a:pt x="25" y="103"/>
                    </a:cubicBezTo>
                    <a:cubicBezTo>
                      <a:pt x="30" y="106"/>
                      <a:pt x="35" y="110"/>
                      <a:pt x="40" y="113"/>
                    </a:cubicBezTo>
                    <a:cubicBezTo>
                      <a:pt x="51" y="120"/>
                      <a:pt x="64" y="123"/>
                      <a:pt x="77" y="124"/>
                    </a:cubicBezTo>
                    <a:cubicBezTo>
                      <a:pt x="90" y="124"/>
                      <a:pt x="103" y="122"/>
                      <a:pt x="115" y="120"/>
                    </a:cubicBezTo>
                    <a:cubicBezTo>
                      <a:pt x="126" y="118"/>
                      <a:pt x="136" y="115"/>
                      <a:pt x="145" y="112"/>
                    </a:cubicBezTo>
                    <a:cubicBezTo>
                      <a:pt x="160" y="106"/>
                      <a:pt x="173" y="97"/>
                      <a:pt x="186" y="87"/>
                    </a:cubicBezTo>
                    <a:cubicBezTo>
                      <a:pt x="192" y="83"/>
                      <a:pt x="198" y="79"/>
                      <a:pt x="203" y="74"/>
                    </a:cubicBezTo>
                    <a:cubicBezTo>
                      <a:pt x="204" y="72"/>
                      <a:pt x="206" y="70"/>
                      <a:pt x="208" y="69"/>
                    </a:cubicBezTo>
                    <a:cubicBezTo>
                      <a:pt x="210" y="67"/>
                      <a:pt x="212" y="66"/>
                      <a:pt x="214" y="65"/>
                    </a:cubicBezTo>
                    <a:cubicBezTo>
                      <a:pt x="218" y="64"/>
                      <a:pt x="222" y="64"/>
                      <a:pt x="225" y="65"/>
                    </a:cubicBezTo>
                    <a:cubicBezTo>
                      <a:pt x="228" y="65"/>
                      <a:pt x="231" y="66"/>
                      <a:pt x="234" y="66"/>
                    </a:cubicBezTo>
                    <a:cubicBezTo>
                      <a:pt x="235" y="66"/>
                      <a:pt x="237" y="65"/>
                      <a:pt x="238" y="65"/>
                    </a:cubicBezTo>
                    <a:cubicBezTo>
                      <a:pt x="239" y="64"/>
                      <a:pt x="240" y="64"/>
                      <a:pt x="241" y="63"/>
                    </a:cubicBezTo>
                    <a:cubicBezTo>
                      <a:pt x="242" y="61"/>
                      <a:pt x="243" y="59"/>
                      <a:pt x="243" y="57"/>
                    </a:cubicBezTo>
                    <a:cubicBezTo>
                      <a:pt x="243" y="56"/>
                      <a:pt x="242" y="54"/>
                      <a:pt x="242" y="52"/>
                    </a:cubicBezTo>
                    <a:cubicBezTo>
                      <a:pt x="240" y="49"/>
                      <a:pt x="236" y="47"/>
                      <a:pt x="233" y="45"/>
                    </a:cubicBezTo>
                    <a:cubicBezTo>
                      <a:pt x="228" y="43"/>
                      <a:pt x="223" y="42"/>
                      <a:pt x="219" y="41"/>
                    </a:cubicBezTo>
                    <a:cubicBezTo>
                      <a:pt x="203" y="37"/>
                      <a:pt x="189" y="32"/>
                      <a:pt x="175" y="25"/>
                    </a:cubicBezTo>
                    <a:cubicBezTo>
                      <a:pt x="168" y="22"/>
                      <a:pt x="161" y="18"/>
                      <a:pt x="155" y="14"/>
                    </a:cubicBezTo>
                    <a:cubicBezTo>
                      <a:pt x="148" y="11"/>
                      <a:pt x="140" y="7"/>
                      <a:pt x="133" y="5"/>
                    </a:cubicBezTo>
                    <a:cubicBezTo>
                      <a:pt x="116" y="0"/>
                      <a:pt x="97" y="1"/>
                      <a:pt x="81" y="7"/>
                    </a:cubicBezTo>
                    <a:cubicBezTo>
                      <a:pt x="62" y="13"/>
                      <a:pt x="45" y="25"/>
                      <a:pt x="32" y="40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08" name="Freeform 42"/>
              <p:cNvSpPr>
                <a:spLocks noEditPoints="1"/>
              </p:cNvSpPr>
              <p:nvPr/>
            </p:nvSpPr>
            <p:spPr bwMode="auto">
              <a:xfrm>
                <a:off x="3021013" y="3502025"/>
                <a:ext cx="228600" cy="33338"/>
              </a:xfrm>
              <a:custGeom>
                <a:avLst/>
                <a:gdLst>
                  <a:gd name="T0" fmla="*/ 62 w 79"/>
                  <a:gd name="T1" fmla="*/ 0 h 12"/>
                  <a:gd name="T2" fmla="*/ 57 w 79"/>
                  <a:gd name="T3" fmla="*/ 1 h 12"/>
                  <a:gd name="T4" fmla="*/ 55 w 79"/>
                  <a:gd name="T5" fmla="*/ 4 h 12"/>
                  <a:gd name="T6" fmla="*/ 64 w 79"/>
                  <a:gd name="T7" fmla="*/ 8 h 12"/>
                  <a:gd name="T8" fmla="*/ 71 w 79"/>
                  <a:gd name="T9" fmla="*/ 12 h 12"/>
                  <a:gd name="T10" fmla="*/ 78 w 79"/>
                  <a:gd name="T11" fmla="*/ 8 h 12"/>
                  <a:gd name="T12" fmla="*/ 70 w 79"/>
                  <a:gd name="T13" fmla="*/ 1 h 12"/>
                  <a:gd name="T14" fmla="*/ 62 w 79"/>
                  <a:gd name="T15" fmla="*/ 0 h 12"/>
                  <a:gd name="T16" fmla="*/ 8 w 79"/>
                  <a:gd name="T17" fmla="*/ 2 h 12"/>
                  <a:gd name="T18" fmla="*/ 2 w 79"/>
                  <a:gd name="T19" fmla="*/ 10 h 12"/>
                  <a:gd name="T20" fmla="*/ 5 w 79"/>
                  <a:gd name="T21" fmla="*/ 12 h 12"/>
                  <a:gd name="T22" fmla="*/ 10 w 79"/>
                  <a:gd name="T23" fmla="*/ 6 h 12"/>
                  <a:gd name="T24" fmla="*/ 9 w 79"/>
                  <a:gd name="T25" fmla="*/ 2 h 12"/>
                  <a:gd name="T26" fmla="*/ 8 w 79"/>
                  <a:gd name="T2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9" h="12">
                    <a:moveTo>
                      <a:pt x="62" y="0"/>
                    </a:moveTo>
                    <a:cubicBezTo>
                      <a:pt x="60" y="0"/>
                      <a:pt x="58" y="0"/>
                      <a:pt x="57" y="1"/>
                    </a:cubicBezTo>
                    <a:cubicBezTo>
                      <a:pt x="56" y="2"/>
                      <a:pt x="55" y="3"/>
                      <a:pt x="55" y="4"/>
                    </a:cubicBezTo>
                    <a:cubicBezTo>
                      <a:pt x="56" y="7"/>
                      <a:pt x="61" y="6"/>
                      <a:pt x="64" y="8"/>
                    </a:cubicBezTo>
                    <a:cubicBezTo>
                      <a:pt x="66" y="9"/>
                      <a:pt x="68" y="12"/>
                      <a:pt x="71" y="12"/>
                    </a:cubicBezTo>
                    <a:cubicBezTo>
                      <a:pt x="74" y="12"/>
                      <a:pt x="78" y="11"/>
                      <a:pt x="78" y="8"/>
                    </a:cubicBezTo>
                    <a:cubicBezTo>
                      <a:pt x="79" y="5"/>
                      <a:pt x="74" y="3"/>
                      <a:pt x="70" y="1"/>
                    </a:cubicBezTo>
                    <a:cubicBezTo>
                      <a:pt x="68" y="0"/>
                      <a:pt x="65" y="0"/>
                      <a:pt x="62" y="0"/>
                    </a:cubicBezTo>
                    <a:close/>
                    <a:moveTo>
                      <a:pt x="8" y="2"/>
                    </a:moveTo>
                    <a:cubicBezTo>
                      <a:pt x="5" y="2"/>
                      <a:pt x="0" y="8"/>
                      <a:pt x="2" y="10"/>
                    </a:cubicBezTo>
                    <a:cubicBezTo>
                      <a:pt x="2" y="11"/>
                      <a:pt x="4" y="12"/>
                      <a:pt x="5" y="12"/>
                    </a:cubicBezTo>
                    <a:cubicBezTo>
                      <a:pt x="7" y="11"/>
                      <a:pt x="8" y="8"/>
                      <a:pt x="10" y="6"/>
                    </a:cubicBezTo>
                    <a:cubicBezTo>
                      <a:pt x="11" y="6"/>
                      <a:pt x="11" y="3"/>
                      <a:pt x="9" y="2"/>
                    </a:cubicBezTo>
                    <a:cubicBezTo>
                      <a:pt x="9" y="2"/>
                      <a:pt x="9" y="2"/>
                      <a:pt x="8" y="2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</p:grpSp>
        <p:grpSp>
          <p:nvGrpSpPr>
            <p:cNvPr id="64" name="Group 63"/>
            <p:cNvGrpSpPr/>
            <p:nvPr/>
          </p:nvGrpSpPr>
          <p:grpSpPr>
            <a:xfrm>
              <a:off x="6552829" y="370848"/>
              <a:ext cx="656092" cy="781920"/>
              <a:chOff x="1811338" y="2714625"/>
              <a:chExt cx="2897187" cy="3452813"/>
            </a:xfrm>
          </p:grpSpPr>
          <p:sp>
            <p:nvSpPr>
              <p:cNvPr id="65" name="Freeform 13"/>
              <p:cNvSpPr>
                <a:spLocks/>
              </p:cNvSpPr>
              <p:nvPr/>
            </p:nvSpPr>
            <p:spPr bwMode="auto">
              <a:xfrm>
                <a:off x="2298700" y="3394075"/>
                <a:ext cx="1931988" cy="2565400"/>
              </a:xfrm>
              <a:custGeom>
                <a:avLst/>
                <a:gdLst>
                  <a:gd name="T0" fmla="*/ 568 w 668"/>
                  <a:gd name="T1" fmla="*/ 180 h 887"/>
                  <a:gd name="T2" fmla="*/ 609 w 668"/>
                  <a:gd name="T3" fmla="*/ 265 h 887"/>
                  <a:gd name="T4" fmla="*/ 660 w 668"/>
                  <a:gd name="T5" fmla="*/ 437 h 887"/>
                  <a:gd name="T6" fmla="*/ 646 w 668"/>
                  <a:gd name="T7" fmla="*/ 615 h 887"/>
                  <a:gd name="T8" fmla="*/ 536 w 668"/>
                  <a:gd name="T9" fmla="*/ 784 h 887"/>
                  <a:gd name="T10" fmla="*/ 324 w 668"/>
                  <a:gd name="T11" fmla="*/ 885 h 887"/>
                  <a:gd name="T12" fmla="*/ 173 w 668"/>
                  <a:gd name="T13" fmla="*/ 848 h 887"/>
                  <a:gd name="T14" fmla="*/ 71 w 668"/>
                  <a:gd name="T15" fmla="*/ 767 h 887"/>
                  <a:gd name="T16" fmla="*/ 12 w 668"/>
                  <a:gd name="T17" fmla="*/ 650 h 887"/>
                  <a:gd name="T18" fmla="*/ 23 w 668"/>
                  <a:gd name="T19" fmla="*/ 491 h 887"/>
                  <a:gd name="T20" fmla="*/ 69 w 668"/>
                  <a:gd name="T21" fmla="*/ 384 h 887"/>
                  <a:gd name="T22" fmla="*/ 112 w 668"/>
                  <a:gd name="T23" fmla="*/ 265 h 887"/>
                  <a:gd name="T24" fmla="*/ 171 w 668"/>
                  <a:gd name="T25" fmla="*/ 167 h 887"/>
                  <a:gd name="T26" fmla="*/ 189 w 668"/>
                  <a:gd name="T27" fmla="*/ 101 h 887"/>
                  <a:gd name="T28" fmla="*/ 218 w 668"/>
                  <a:gd name="T29" fmla="*/ 39 h 887"/>
                  <a:gd name="T30" fmla="*/ 290 w 668"/>
                  <a:gd name="T31" fmla="*/ 4 h 887"/>
                  <a:gd name="T32" fmla="*/ 372 w 668"/>
                  <a:gd name="T33" fmla="*/ 11 h 887"/>
                  <a:gd name="T34" fmla="*/ 435 w 668"/>
                  <a:gd name="T35" fmla="*/ 29 h 887"/>
                  <a:gd name="T36" fmla="*/ 486 w 668"/>
                  <a:gd name="T37" fmla="*/ 54 h 887"/>
                  <a:gd name="T38" fmla="*/ 535 w 668"/>
                  <a:gd name="T39" fmla="*/ 111 h 887"/>
                  <a:gd name="T40" fmla="*/ 568 w 668"/>
                  <a:gd name="T41" fmla="*/ 180 h 8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68" h="887">
                    <a:moveTo>
                      <a:pt x="568" y="180"/>
                    </a:moveTo>
                    <a:cubicBezTo>
                      <a:pt x="581" y="209"/>
                      <a:pt x="596" y="237"/>
                      <a:pt x="609" y="265"/>
                    </a:cubicBezTo>
                    <a:cubicBezTo>
                      <a:pt x="633" y="320"/>
                      <a:pt x="652" y="377"/>
                      <a:pt x="660" y="437"/>
                    </a:cubicBezTo>
                    <a:cubicBezTo>
                      <a:pt x="668" y="496"/>
                      <a:pt x="665" y="558"/>
                      <a:pt x="646" y="615"/>
                    </a:cubicBezTo>
                    <a:cubicBezTo>
                      <a:pt x="625" y="679"/>
                      <a:pt x="585" y="737"/>
                      <a:pt x="536" y="784"/>
                    </a:cubicBezTo>
                    <a:cubicBezTo>
                      <a:pt x="478" y="839"/>
                      <a:pt x="404" y="882"/>
                      <a:pt x="324" y="885"/>
                    </a:cubicBezTo>
                    <a:cubicBezTo>
                      <a:pt x="272" y="887"/>
                      <a:pt x="220" y="872"/>
                      <a:pt x="173" y="848"/>
                    </a:cubicBezTo>
                    <a:cubicBezTo>
                      <a:pt x="134" y="828"/>
                      <a:pt x="99" y="800"/>
                      <a:pt x="71" y="767"/>
                    </a:cubicBezTo>
                    <a:cubicBezTo>
                      <a:pt x="42" y="733"/>
                      <a:pt x="21" y="693"/>
                      <a:pt x="12" y="650"/>
                    </a:cubicBezTo>
                    <a:cubicBezTo>
                      <a:pt x="0" y="598"/>
                      <a:pt x="5" y="542"/>
                      <a:pt x="23" y="491"/>
                    </a:cubicBezTo>
                    <a:cubicBezTo>
                      <a:pt x="36" y="454"/>
                      <a:pt x="55" y="420"/>
                      <a:pt x="69" y="384"/>
                    </a:cubicBezTo>
                    <a:cubicBezTo>
                      <a:pt x="84" y="345"/>
                      <a:pt x="92" y="302"/>
                      <a:pt x="112" y="265"/>
                    </a:cubicBezTo>
                    <a:cubicBezTo>
                      <a:pt x="130" y="231"/>
                      <a:pt x="157" y="202"/>
                      <a:pt x="171" y="167"/>
                    </a:cubicBezTo>
                    <a:cubicBezTo>
                      <a:pt x="180" y="146"/>
                      <a:pt x="184" y="123"/>
                      <a:pt x="189" y="101"/>
                    </a:cubicBezTo>
                    <a:cubicBezTo>
                      <a:pt x="195" y="78"/>
                      <a:pt x="202" y="56"/>
                      <a:pt x="218" y="39"/>
                    </a:cubicBezTo>
                    <a:cubicBezTo>
                      <a:pt x="236" y="18"/>
                      <a:pt x="263" y="7"/>
                      <a:pt x="290" y="4"/>
                    </a:cubicBezTo>
                    <a:cubicBezTo>
                      <a:pt x="318" y="0"/>
                      <a:pt x="345" y="5"/>
                      <a:pt x="372" y="11"/>
                    </a:cubicBezTo>
                    <a:cubicBezTo>
                      <a:pt x="394" y="16"/>
                      <a:pt x="415" y="22"/>
                      <a:pt x="435" y="29"/>
                    </a:cubicBezTo>
                    <a:cubicBezTo>
                      <a:pt x="453" y="35"/>
                      <a:pt x="471" y="43"/>
                      <a:pt x="486" y="54"/>
                    </a:cubicBezTo>
                    <a:cubicBezTo>
                      <a:pt x="507" y="68"/>
                      <a:pt x="523" y="89"/>
                      <a:pt x="535" y="111"/>
                    </a:cubicBezTo>
                    <a:cubicBezTo>
                      <a:pt x="548" y="134"/>
                      <a:pt x="557" y="157"/>
                      <a:pt x="568" y="180"/>
                    </a:cubicBezTo>
                    <a:close/>
                  </a:path>
                </a:pathLst>
              </a:custGeom>
              <a:solidFill>
                <a:srgbClr val="0973D1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66" name="Freeform 14"/>
              <p:cNvSpPr>
                <a:spLocks/>
              </p:cNvSpPr>
              <p:nvPr/>
            </p:nvSpPr>
            <p:spPr bwMode="auto">
              <a:xfrm>
                <a:off x="2770188" y="2714625"/>
                <a:ext cx="1069975" cy="1350963"/>
              </a:xfrm>
              <a:custGeom>
                <a:avLst/>
                <a:gdLst>
                  <a:gd name="T0" fmla="*/ 7 w 370"/>
                  <a:gd name="T1" fmla="*/ 356 h 467"/>
                  <a:gd name="T2" fmla="*/ 4 w 370"/>
                  <a:gd name="T3" fmla="*/ 262 h 467"/>
                  <a:gd name="T4" fmla="*/ 1 w 370"/>
                  <a:gd name="T5" fmla="*/ 173 h 467"/>
                  <a:gd name="T6" fmla="*/ 21 w 370"/>
                  <a:gd name="T7" fmla="*/ 84 h 467"/>
                  <a:gd name="T8" fmla="*/ 83 w 370"/>
                  <a:gd name="T9" fmla="*/ 19 h 467"/>
                  <a:gd name="T10" fmla="*/ 166 w 370"/>
                  <a:gd name="T11" fmla="*/ 0 h 467"/>
                  <a:gd name="T12" fmla="*/ 276 w 370"/>
                  <a:gd name="T13" fmla="*/ 35 h 467"/>
                  <a:gd name="T14" fmla="*/ 325 w 370"/>
                  <a:gd name="T15" fmla="*/ 89 h 467"/>
                  <a:gd name="T16" fmla="*/ 350 w 370"/>
                  <a:gd name="T17" fmla="*/ 145 h 467"/>
                  <a:gd name="T18" fmla="*/ 361 w 370"/>
                  <a:gd name="T19" fmla="*/ 273 h 467"/>
                  <a:gd name="T20" fmla="*/ 367 w 370"/>
                  <a:gd name="T21" fmla="*/ 394 h 467"/>
                  <a:gd name="T22" fmla="*/ 362 w 370"/>
                  <a:gd name="T23" fmla="*/ 419 h 467"/>
                  <a:gd name="T24" fmla="*/ 344 w 370"/>
                  <a:gd name="T25" fmla="*/ 437 h 467"/>
                  <a:gd name="T26" fmla="*/ 320 w 370"/>
                  <a:gd name="T27" fmla="*/ 445 h 467"/>
                  <a:gd name="T28" fmla="*/ 269 w 370"/>
                  <a:gd name="T29" fmla="*/ 448 h 467"/>
                  <a:gd name="T30" fmla="*/ 196 w 370"/>
                  <a:gd name="T31" fmla="*/ 463 h 467"/>
                  <a:gd name="T32" fmla="*/ 107 w 370"/>
                  <a:gd name="T33" fmla="*/ 463 h 467"/>
                  <a:gd name="T34" fmla="*/ 72 w 370"/>
                  <a:gd name="T35" fmla="*/ 461 h 467"/>
                  <a:gd name="T36" fmla="*/ 38 w 370"/>
                  <a:gd name="T37" fmla="*/ 451 h 467"/>
                  <a:gd name="T38" fmla="*/ 21 w 370"/>
                  <a:gd name="T39" fmla="*/ 438 h 467"/>
                  <a:gd name="T40" fmla="*/ 11 w 370"/>
                  <a:gd name="T41" fmla="*/ 418 h 467"/>
                  <a:gd name="T42" fmla="*/ 9 w 370"/>
                  <a:gd name="T43" fmla="*/ 386 h 467"/>
                  <a:gd name="T44" fmla="*/ 7 w 370"/>
                  <a:gd name="T45" fmla="*/ 356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70" h="467">
                    <a:moveTo>
                      <a:pt x="7" y="356"/>
                    </a:moveTo>
                    <a:cubicBezTo>
                      <a:pt x="5" y="325"/>
                      <a:pt x="5" y="294"/>
                      <a:pt x="4" y="262"/>
                    </a:cubicBezTo>
                    <a:cubicBezTo>
                      <a:pt x="3" y="233"/>
                      <a:pt x="0" y="203"/>
                      <a:pt x="1" y="173"/>
                    </a:cubicBezTo>
                    <a:cubicBezTo>
                      <a:pt x="2" y="142"/>
                      <a:pt x="7" y="112"/>
                      <a:pt x="21" y="84"/>
                    </a:cubicBezTo>
                    <a:cubicBezTo>
                      <a:pt x="35" y="57"/>
                      <a:pt x="56" y="34"/>
                      <a:pt x="83" y="19"/>
                    </a:cubicBezTo>
                    <a:cubicBezTo>
                      <a:pt x="109" y="6"/>
                      <a:pt x="138" y="0"/>
                      <a:pt x="166" y="0"/>
                    </a:cubicBezTo>
                    <a:cubicBezTo>
                      <a:pt x="205" y="1"/>
                      <a:pt x="244" y="12"/>
                      <a:pt x="276" y="35"/>
                    </a:cubicBezTo>
                    <a:cubicBezTo>
                      <a:pt x="295" y="50"/>
                      <a:pt x="312" y="68"/>
                      <a:pt x="325" y="89"/>
                    </a:cubicBezTo>
                    <a:cubicBezTo>
                      <a:pt x="336" y="106"/>
                      <a:pt x="345" y="125"/>
                      <a:pt x="350" y="145"/>
                    </a:cubicBezTo>
                    <a:cubicBezTo>
                      <a:pt x="361" y="186"/>
                      <a:pt x="359" y="230"/>
                      <a:pt x="361" y="273"/>
                    </a:cubicBezTo>
                    <a:cubicBezTo>
                      <a:pt x="363" y="313"/>
                      <a:pt x="370" y="353"/>
                      <a:pt x="367" y="394"/>
                    </a:cubicBezTo>
                    <a:cubicBezTo>
                      <a:pt x="367" y="402"/>
                      <a:pt x="366" y="411"/>
                      <a:pt x="362" y="419"/>
                    </a:cubicBezTo>
                    <a:cubicBezTo>
                      <a:pt x="358" y="427"/>
                      <a:pt x="352" y="433"/>
                      <a:pt x="344" y="437"/>
                    </a:cubicBezTo>
                    <a:cubicBezTo>
                      <a:pt x="337" y="441"/>
                      <a:pt x="329" y="444"/>
                      <a:pt x="320" y="445"/>
                    </a:cubicBezTo>
                    <a:cubicBezTo>
                      <a:pt x="303" y="448"/>
                      <a:pt x="286" y="446"/>
                      <a:pt x="269" y="448"/>
                    </a:cubicBezTo>
                    <a:cubicBezTo>
                      <a:pt x="244" y="450"/>
                      <a:pt x="221" y="459"/>
                      <a:pt x="196" y="463"/>
                    </a:cubicBezTo>
                    <a:cubicBezTo>
                      <a:pt x="167" y="467"/>
                      <a:pt x="137" y="464"/>
                      <a:pt x="107" y="463"/>
                    </a:cubicBezTo>
                    <a:cubicBezTo>
                      <a:pt x="96" y="463"/>
                      <a:pt x="84" y="462"/>
                      <a:pt x="72" y="461"/>
                    </a:cubicBezTo>
                    <a:cubicBezTo>
                      <a:pt x="60" y="459"/>
                      <a:pt x="48" y="457"/>
                      <a:pt x="38" y="451"/>
                    </a:cubicBezTo>
                    <a:cubicBezTo>
                      <a:pt x="32" y="448"/>
                      <a:pt x="26" y="443"/>
                      <a:pt x="21" y="438"/>
                    </a:cubicBezTo>
                    <a:cubicBezTo>
                      <a:pt x="16" y="432"/>
                      <a:pt x="12" y="426"/>
                      <a:pt x="11" y="418"/>
                    </a:cubicBezTo>
                    <a:cubicBezTo>
                      <a:pt x="8" y="408"/>
                      <a:pt x="9" y="397"/>
                      <a:pt x="9" y="386"/>
                    </a:cubicBezTo>
                    <a:cubicBezTo>
                      <a:pt x="9" y="376"/>
                      <a:pt x="8" y="366"/>
                      <a:pt x="7" y="356"/>
                    </a:cubicBezTo>
                    <a:close/>
                  </a:path>
                </a:pathLst>
              </a:custGeom>
              <a:solidFill>
                <a:srgbClr val="0973D1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67" name="Freeform 15"/>
              <p:cNvSpPr>
                <a:spLocks/>
              </p:cNvSpPr>
              <p:nvPr/>
            </p:nvSpPr>
            <p:spPr bwMode="auto">
              <a:xfrm>
                <a:off x="3165475" y="5424488"/>
                <a:ext cx="912813" cy="633413"/>
              </a:xfrm>
              <a:custGeom>
                <a:avLst/>
                <a:gdLst>
                  <a:gd name="T0" fmla="*/ 38 w 315"/>
                  <a:gd name="T1" fmla="*/ 184 h 219"/>
                  <a:gd name="T2" fmla="*/ 104 w 315"/>
                  <a:gd name="T3" fmla="*/ 190 h 219"/>
                  <a:gd name="T4" fmla="*/ 161 w 315"/>
                  <a:gd name="T5" fmla="*/ 202 h 219"/>
                  <a:gd name="T6" fmla="*/ 250 w 315"/>
                  <a:gd name="T7" fmla="*/ 219 h 219"/>
                  <a:gd name="T8" fmla="*/ 274 w 315"/>
                  <a:gd name="T9" fmla="*/ 217 h 219"/>
                  <a:gd name="T10" fmla="*/ 296 w 315"/>
                  <a:gd name="T11" fmla="*/ 207 h 219"/>
                  <a:gd name="T12" fmla="*/ 313 w 315"/>
                  <a:gd name="T13" fmla="*/ 177 h 219"/>
                  <a:gd name="T14" fmla="*/ 310 w 315"/>
                  <a:gd name="T15" fmla="*/ 141 h 219"/>
                  <a:gd name="T16" fmla="*/ 277 w 315"/>
                  <a:gd name="T17" fmla="*/ 79 h 219"/>
                  <a:gd name="T18" fmla="*/ 256 w 315"/>
                  <a:gd name="T19" fmla="*/ 43 h 219"/>
                  <a:gd name="T20" fmla="*/ 228 w 315"/>
                  <a:gd name="T21" fmla="*/ 14 h 219"/>
                  <a:gd name="T22" fmla="*/ 174 w 315"/>
                  <a:gd name="T23" fmla="*/ 2 h 219"/>
                  <a:gd name="T24" fmla="*/ 120 w 315"/>
                  <a:gd name="T25" fmla="*/ 20 h 219"/>
                  <a:gd name="T26" fmla="*/ 62 w 315"/>
                  <a:gd name="T27" fmla="*/ 72 h 219"/>
                  <a:gd name="T28" fmla="*/ 50 w 315"/>
                  <a:gd name="T29" fmla="*/ 97 h 219"/>
                  <a:gd name="T30" fmla="*/ 35 w 315"/>
                  <a:gd name="T31" fmla="*/ 120 h 219"/>
                  <a:gd name="T32" fmla="*/ 12 w 315"/>
                  <a:gd name="T33" fmla="*/ 139 h 219"/>
                  <a:gd name="T34" fmla="*/ 3 w 315"/>
                  <a:gd name="T35" fmla="*/ 152 h 219"/>
                  <a:gd name="T36" fmla="*/ 2 w 315"/>
                  <a:gd name="T37" fmla="*/ 167 h 219"/>
                  <a:gd name="T38" fmla="*/ 8 w 315"/>
                  <a:gd name="T39" fmla="*/ 175 h 219"/>
                  <a:gd name="T40" fmla="*/ 17 w 315"/>
                  <a:gd name="T41" fmla="*/ 181 h 219"/>
                  <a:gd name="T42" fmla="*/ 38 w 315"/>
                  <a:gd name="T43" fmla="*/ 184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15" h="219">
                    <a:moveTo>
                      <a:pt x="38" y="184"/>
                    </a:moveTo>
                    <a:cubicBezTo>
                      <a:pt x="60" y="185"/>
                      <a:pt x="82" y="187"/>
                      <a:pt x="104" y="190"/>
                    </a:cubicBezTo>
                    <a:cubicBezTo>
                      <a:pt x="123" y="193"/>
                      <a:pt x="142" y="197"/>
                      <a:pt x="161" y="202"/>
                    </a:cubicBezTo>
                    <a:cubicBezTo>
                      <a:pt x="190" y="209"/>
                      <a:pt x="220" y="218"/>
                      <a:pt x="250" y="219"/>
                    </a:cubicBezTo>
                    <a:cubicBezTo>
                      <a:pt x="258" y="219"/>
                      <a:pt x="266" y="219"/>
                      <a:pt x="274" y="217"/>
                    </a:cubicBezTo>
                    <a:cubicBezTo>
                      <a:pt x="282" y="215"/>
                      <a:pt x="289" y="212"/>
                      <a:pt x="296" y="207"/>
                    </a:cubicBezTo>
                    <a:cubicBezTo>
                      <a:pt x="305" y="200"/>
                      <a:pt x="311" y="188"/>
                      <a:pt x="313" y="177"/>
                    </a:cubicBezTo>
                    <a:cubicBezTo>
                      <a:pt x="315" y="165"/>
                      <a:pt x="314" y="153"/>
                      <a:pt x="310" y="141"/>
                    </a:cubicBezTo>
                    <a:cubicBezTo>
                      <a:pt x="304" y="119"/>
                      <a:pt x="289" y="99"/>
                      <a:pt x="277" y="79"/>
                    </a:cubicBezTo>
                    <a:cubicBezTo>
                      <a:pt x="270" y="67"/>
                      <a:pt x="264" y="55"/>
                      <a:pt x="256" y="43"/>
                    </a:cubicBezTo>
                    <a:cubicBezTo>
                      <a:pt x="248" y="32"/>
                      <a:pt x="239" y="21"/>
                      <a:pt x="228" y="14"/>
                    </a:cubicBezTo>
                    <a:cubicBezTo>
                      <a:pt x="212" y="4"/>
                      <a:pt x="192" y="0"/>
                      <a:pt x="174" y="2"/>
                    </a:cubicBezTo>
                    <a:cubicBezTo>
                      <a:pt x="155" y="4"/>
                      <a:pt x="137" y="11"/>
                      <a:pt x="120" y="20"/>
                    </a:cubicBezTo>
                    <a:cubicBezTo>
                      <a:pt x="96" y="32"/>
                      <a:pt x="74" y="48"/>
                      <a:pt x="62" y="72"/>
                    </a:cubicBezTo>
                    <a:cubicBezTo>
                      <a:pt x="57" y="80"/>
                      <a:pt x="54" y="88"/>
                      <a:pt x="50" y="97"/>
                    </a:cubicBezTo>
                    <a:cubicBezTo>
                      <a:pt x="46" y="105"/>
                      <a:pt x="42" y="113"/>
                      <a:pt x="35" y="120"/>
                    </a:cubicBezTo>
                    <a:cubicBezTo>
                      <a:pt x="28" y="127"/>
                      <a:pt x="19" y="132"/>
                      <a:pt x="12" y="139"/>
                    </a:cubicBezTo>
                    <a:cubicBezTo>
                      <a:pt x="8" y="143"/>
                      <a:pt x="5" y="147"/>
                      <a:pt x="3" y="152"/>
                    </a:cubicBezTo>
                    <a:cubicBezTo>
                      <a:pt x="1" y="157"/>
                      <a:pt x="0" y="162"/>
                      <a:pt x="2" y="167"/>
                    </a:cubicBezTo>
                    <a:cubicBezTo>
                      <a:pt x="3" y="170"/>
                      <a:pt x="5" y="173"/>
                      <a:pt x="8" y="175"/>
                    </a:cubicBezTo>
                    <a:cubicBezTo>
                      <a:pt x="11" y="178"/>
                      <a:pt x="14" y="179"/>
                      <a:pt x="17" y="181"/>
                    </a:cubicBezTo>
                    <a:cubicBezTo>
                      <a:pt x="24" y="183"/>
                      <a:pt x="31" y="183"/>
                      <a:pt x="38" y="184"/>
                    </a:cubicBezTo>
                    <a:close/>
                  </a:path>
                </a:pathLst>
              </a:custGeom>
              <a:solidFill>
                <a:srgbClr val="0973D1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68" name="Freeform 16"/>
              <p:cNvSpPr>
                <a:spLocks/>
              </p:cNvSpPr>
              <p:nvPr/>
            </p:nvSpPr>
            <p:spPr bwMode="auto">
              <a:xfrm>
                <a:off x="2344738" y="5424488"/>
                <a:ext cx="855663" cy="633413"/>
              </a:xfrm>
              <a:custGeom>
                <a:avLst/>
                <a:gdLst>
                  <a:gd name="T0" fmla="*/ 257 w 296"/>
                  <a:gd name="T1" fmla="*/ 182 h 219"/>
                  <a:gd name="T2" fmla="*/ 202 w 296"/>
                  <a:gd name="T3" fmla="*/ 190 h 219"/>
                  <a:gd name="T4" fmla="*/ 151 w 296"/>
                  <a:gd name="T5" fmla="*/ 202 h 219"/>
                  <a:gd name="T6" fmla="*/ 64 w 296"/>
                  <a:gd name="T7" fmla="*/ 219 h 219"/>
                  <a:gd name="T8" fmla="*/ 41 w 296"/>
                  <a:gd name="T9" fmla="*/ 217 h 219"/>
                  <a:gd name="T10" fmla="*/ 20 w 296"/>
                  <a:gd name="T11" fmla="*/ 207 h 219"/>
                  <a:gd name="T12" fmla="*/ 3 w 296"/>
                  <a:gd name="T13" fmla="*/ 177 h 219"/>
                  <a:gd name="T14" fmla="*/ 5 w 296"/>
                  <a:gd name="T15" fmla="*/ 142 h 219"/>
                  <a:gd name="T16" fmla="*/ 38 w 296"/>
                  <a:gd name="T17" fmla="*/ 79 h 219"/>
                  <a:gd name="T18" fmla="*/ 58 w 296"/>
                  <a:gd name="T19" fmla="*/ 43 h 219"/>
                  <a:gd name="T20" fmla="*/ 86 w 296"/>
                  <a:gd name="T21" fmla="*/ 14 h 219"/>
                  <a:gd name="T22" fmla="*/ 139 w 296"/>
                  <a:gd name="T23" fmla="*/ 2 h 219"/>
                  <a:gd name="T24" fmla="*/ 191 w 296"/>
                  <a:gd name="T25" fmla="*/ 20 h 219"/>
                  <a:gd name="T26" fmla="*/ 248 w 296"/>
                  <a:gd name="T27" fmla="*/ 72 h 219"/>
                  <a:gd name="T28" fmla="*/ 273 w 296"/>
                  <a:gd name="T29" fmla="*/ 120 h 219"/>
                  <a:gd name="T30" fmla="*/ 291 w 296"/>
                  <a:gd name="T31" fmla="*/ 143 h 219"/>
                  <a:gd name="T32" fmla="*/ 296 w 296"/>
                  <a:gd name="T33" fmla="*/ 157 h 219"/>
                  <a:gd name="T34" fmla="*/ 292 w 296"/>
                  <a:gd name="T35" fmla="*/ 171 h 219"/>
                  <a:gd name="T36" fmla="*/ 285 w 296"/>
                  <a:gd name="T37" fmla="*/ 178 h 219"/>
                  <a:gd name="T38" fmla="*/ 276 w 296"/>
                  <a:gd name="T39" fmla="*/ 181 h 219"/>
                  <a:gd name="T40" fmla="*/ 257 w 296"/>
                  <a:gd name="T41" fmla="*/ 182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96" h="219">
                    <a:moveTo>
                      <a:pt x="257" y="182"/>
                    </a:moveTo>
                    <a:cubicBezTo>
                      <a:pt x="238" y="183"/>
                      <a:pt x="220" y="186"/>
                      <a:pt x="202" y="190"/>
                    </a:cubicBezTo>
                    <a:cubicBezTo>
                      <a:pt x="185" y="193"/>
                      <a:pt x="168" y="197"/>
                      <a:pt x="151" y="202"/>
                    </a:cubicBezTo>
                    <a:cubicBezTo>
                      <a:pt x="122" y="209"/>
                      <a:pt x="94" y="218"/>
                      <a:pt x="64" y="219"/>
                    </a:cubicBezTo>
                    <a:cubicBezTo>
                      <a:pt x="56" y="219"/>
                      <a:pt x="49" y="219"/>
                      <a:pt x="41" y="217"/>
                    </a:cubicBezTo>
                    <a:cubicBezTo>
                      <a:pt x="33" y="215"/>
                      <a:pt x="26" y="212"/>
                      <a:pt x="20" y="207"/>
                    </a:cubicBezTo>
                    <a:cubicBezTo>
                      <a:pt x="11" y="200"/>
                      <a:pt x="5" y="188"/>
                      <a:pt x="3" y="177"/>
                    </a:cubicBezTo>
                    <a:cubicBezTo>
                      <a:pt x="0" y="165"/>
                      <a:pt x="2" y="153"/>
                      <a:pt x="5" y="142"/>
                    </a:cubicBezTo>
                    <a:cubicBezTo>
                      <a:pt x="12" y="119"/>
                      <a:pt x="26" y="99"/>
                      <a:pt x="38" y="79"/>
                    </a:cubicBezTo>
                    <a:cubicBezTo>
                      <a:pt x="45" y="67"/>
                      <a:pt x="51" y="55"/>
                      <a:pt x="58" y="43"/>
                    </a:cubicBezTo>
                    <a:cubicBezTo>
                      <a:pt x="66" y="32"/>
                      <a:pt x="75" y="21"/>
                      <a:pt x="86" y="14"/>
                    </a:cubicBezTo>
                    <a:cubicBezTo>
                      <a:pt x="101" y="4"/>
                      <a:pt x="121" y="0"/>
                      <a:pt x="139" y="2"/>
                    </a:cubicBezTo>
                    <a:cubicBezTo>
                      <a:pt x="157" y="4"/>
                      <a:pt x="175" y="11"/>
                      <a:pt x="191" y="20"/>
                    </a:cubicBezTo>
                    <a:cubicBezTo>
                      <a:pt x="214" y="32"/>
                      <a:pt x="235" y="49"/>
                      <a:pt x="248" y="72"/>
                    </a:cubicBezTo>
                    <a:cubicBezTo>
                      <a:pt x="257" y="87"/>
                      <a:pt x="262" y="105"/>
                      <a:pt x="273" y="120"/>
                    </a:cubicBezTo>
                    <a:cubicBezTo>
                      <a:pt x="279" y="128"/>
                      <a:pt x="286" y="135"/>
                      <a:pt x="291" y="143"/>
                    </a:cubicBezTo>
                    <a:cubicBezTo>
                      <a:pt x="294" y="148"/>
                      <a:pt x="295" y="152"/>
                      <a:pt x="296" y="157"/>
                    </a:cubicBezTo>
                    <a:cubicBezTo>
                      <a:pt x="296" y="162"/>
                      <a:pt x="295" y="167"/>
                      <a:pt x="292" y="171"/>
                    </a:cubicBezTo>
                    <a:cubicBezTo>
                      <a:pt x="291" y="174"/>
                      <a:pt x="288" y="176"/>
                      <a:pt x="285" y="178"/>
                    </a:cubicBezTo>
                    <a:cubicBezTo>
                      <a:pt x="282" y="179"/>
                      <a:pt x="279" y="180"/>
                      <a:pt x="276" y="181"/>
                    </a:cubicBezTo>
                    <a:cubicBezTo>
                      <a:pt x="270" y="182"/>
                      <a:pt x="263" y="182"/>
                      <a:pt x="257" y="182"/>
                    </a:cubicBezTo>
                    <a:close/>
                  </a:path>
                </a:pathLst>
              </a:custGeom>
              <a:solidFill>
                <a:srgbClr val="0973D1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69" name="Freeform 17"/>
              <p:cNvSpPr>
                <a:spLocks/>
              </p:cNvSpPr>
              <p:nvPr/>
            </p:nvSpPr>
            <p:spPr bwMode="auto">
              <a:xfrm>
                <a:off x="2474913" y="3654425"/>
                <a:ext cx="1470025" cy="2185988"/>
              </a:xfrm>
              <a:custGeom>
                <a:avLst/>
                <a:gdLst>
                  <a:gd name="T0" fmla="*/ 156 w 508"/>
                  <a:gd name="T1" fmla="*/ 19 h 756"/>
                  <a:gd name="T2" fmla="*/ 147 w 508"/>
                  <a:gd name="T3" fmla="*/ 37 h 756"/>
                  <a:gd name="T4" fmla="*/ 145 w 508"/>
                  <a:gd name="T5" fmla="*/ 57 h 756"/>
                  <a:gd name="T6" fmla="*/ 142 w 508"/>
                  <a:gd name="T7" fmla="*/ 97 h 756"/>
                  <a:gd name="T8" fmla="*/ 121 w 508"/>
                  <a:gd name="T9" fmla="*/ 134 h 756"/>
                  <a:gd name="T10" fmla="*/ 85 w 508"/>
                  <a:gd name="T11" fmla="*/ 199 h 756"/>
                  <a:gd name="T12" fmla="*/ 81 w 508"/>
                  <a:gd name="T13" fmla="*/ 244 h 756"/>
                  <a:gd name="T14" fmla="*/ 39 w 508"/>
                  <a:gd name="T15" fmla="*/ 319 h 756"/>
                  <a:gd name="T16" fmla="*/ 5 w 508"/>
                  <a:gd name="T17" fmla="*/ 444 h 756"/>
                  <a:gd name="T18" fmla="*/ 28 w 508"/>
                  <a:gd name="T19" fmla="*/ 601 h 756"/>
                  <a:gd name="T20" fmla="*/ 94 w 508"/>
                  <a:gd name="T21" fmla="*/ 694 h 756"/>
                  <a:gd name="T22" fmla="*/ 143 w 508"/>
                  <a:gd name="T23" fmla="*/ 726 h 756"/>
                  <a:gd name="T24" fmla="*/ 339 w 508"/>
                  <a:gd name="T25" fmla="*/ 724 h 756"/>
                  <a:gd name="T26" fmla="*/ 422 w 508"/>
                  <a:gd name="T27" fmla="*/ 658 h 756"/>
                  <a:gd name="T28" fmla="*/ 464 w 508"/>
                  <a:gd name="T29" fmla="*/ 611 h 756"/>
                  <a:gd name="T30" fmla="*/ 500 w 508"/>
                  <a:gd name="T31" fmla="*/ 494 h 756"/>
                  <a:gd name="T32" fmla="*/ 477 w 508"/>
                  <a:gd name="T33" fmla="*/ 282 h 756"/>
                  <a:gd name="T34" fmla="*/ 435 w 508"/>
                  <a:gd name="T35" fmla="*/ 222 h 756"/>
                  <a:gd name="T36" fmla="*/ 408 w 508"/>
                  <a:gd name="T37" fmla="*/ 132 h 756"/>
                  <a:gd name="T38" fmla="*/ 378 w 508"/>
                  <a:gd name="T39" fmla="*/ 70 h 756"/>
                  <a:gd name="T40" fmla="*/ 367 w 508"/>
                  <a:gd name="T41" fmla="*/ 45 h 756"/>
                  <a:gd name="T42" fmla="*/ 352 w 508"/>
                  <a:gd name="T43" fmla="*/ 22 h 756"/>
                  <a:gd name="T44" fmla="*/ 327 w 508"/>
                  <a:gd name="T45" fmla="*/ 7 h 756"/>
                  <a:gd name="T46" fmla="*/ 299 w 508"/>
                  <a:gd name="T47" fmla="*/ 3 h 756"/>
                  <a:gd name="T48" fmla="*/ 242 w 508"/>
                  <a:gd name="T49" fmla="*/ 3 h 756"/>
                  <a:gd name="T50" fmla="*/ 196 w 508"/>
                  <a:gd name="T51" fmla="*/ 1 h 756"/>
                  <a:gd name="T52" fmla="*/ 174 w 508"/>
                  <a:gd name="T53" fmla="*/ 6 h 756"/>
                  <a:gd name="T54" fmla="*/ 156 w 508"/>
                  <a:gd name="T55" fmla="*/ 19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08" h="756">
                    <a:moveTo>
                      <a:pt x="156" y="19"/>
                    </a:moveTo>
                    <a:cubicBezTo>
                      <a:pt x="152" y="24"/>
                      <a:pt x="149" y="30"/>
                      <a:pt x="147" y="37"/>
                    </a:cubicBezTo>
                    <a:cubicBezTo>
                      <a:pt x="146" y="43"/>
                      <a:pt x="145" y="50"/>
                      <a:pt x="145" y="57"/>
                    </a:cubicBezTo>
                    <a:cubicBezTo>
                      <a:pt x="144" y="70"/>
                      <a:pt x="145" y="84"/>
                      <a:pt x="142" y="97"/>
                    </a:cubicBezTo>
                    <a:cubicBezTo>
                      <a:pt x="138" y="111"/>
                      <a:pt x="129" y="123"/>
                      <a:pt x="121" y="134"/>
                    </a:cubicBezTo>
                    <a:cubicBezTo>
                      <a:pt x="106" y="155"/>
                      <a:pt x="92" y="175"/>
                      <a:pt x="85" y="199"/>
                    </a:cubicBezTo>
                    <a:cubicBezTo>
                      <a:pt x="80" y="214"/>
                      <a:pt x="79" y="229"/>
                      <a:pt x="81" y="244"/>
                    </a:cubicBezTo>
                    <a:cubicBezTo>
                      <a:pt x="64" y="268"/>
                      <a:pt x="50" y="293"/>
                      <a:pt x="39" y="319"/>
                    </a:cubicBezTo>
                    <a:cubicBezTo>
                      <a:pt x="21" y="359"/>
                      <a:pt x="9" y="401"/>
                      <a:pt x="5" y="444"/>
                    </a:cubicBezTo>
                    <a:cubicBezTo>
                      <a:pt x="0" y="497"/>
                      <a:pt x="7" y="552"/>
                      <a:pt x="28" y="601"/>
                    </a:cubicBezTo>
                    <a:cubicBezTo>
                      <a:pt x="43" y="636"/>
                      <a:pt x="65" y="668"/>
                      <a:pt x="94" y="694"/>
                    </a:cubicBezTo>
                    <a:cubicBezTo>
                      <a:pt x="109" y="706"/>
                      <a:pt x="126" y="717"/>
                      <a:pt x="143" y="726"/>
                    </a:cubicBezTo>
                    <a:cubicBezTo>
                      <a:pt x="204" y="756"/>
                      <a:pt x="279" y="756"/>
                      <a:pt x="339" y="724"/>
                    </a:cubicBezTo>
                    <a:cubicBezTo>
                      <a:pt x="370" y="707"/>
                      <a:pt x="397" y="683"/>
                      <a:pt x="422" y="658"/>
                    </a:cubicBezTo>
                    <a:cubicBezTo>
                      <a:pt x="437" y="644"/>
                      <a:pt x="453" y="628"/>
                      <a:pt x="464" y="611"/>
                    </a:cubicBezTo>
                    <a:cubicBezTo>
                      <a:pt x="487" y="576"/>
                      <a:pt x="495" y="534"/>
                      <a:pt x="500" y="494"/>
                    </a:cubicBezTo>
                    <a:cubicBezTo>
                      <a:pt x="508" y="422"/>
                      <a:pt x="508" y="347"/>
                      <a:pt x="477" y="282"/>
                    </a:cubicBezTo>
                    <a:cubicBezTo>
                      <a:pt x="466" y="260"/>
                      <a:pt x="452" y="239"/>
                      <a:pt x="435" y="222"/>
                    </a:cubicBezTo>
                    <a:cubicBezTo>
                      <a:pt x="430" y="191"/>
                      <a:pt x="421" y="160"/>
                      <a:pt x="408" y="132"/>
                    </a:cubicBezTo>
                    <a:cubicBezTo>
                      <a:pt x="399" y="111"/>
                      <a:pt x="387" y="91"/>
                      <a:pt x="378" y="70"/>
                    </a:cubicBezTo>
                    <a:cubicBezTo>
                      <a:pt x="375" y="62"/>
                      <a:pt x="371" y="53"/>
                      <a:pt x="367" y="45"/>
                    </a:cubicBezTo>
                    <a:cubicBezTo>
                      <a:pt x="363" y="36"/>
                      <a:pt x="358" y="28"/>
                      <a:pt x="352" y="22"/>
                    </a:cubicBezTo>
                    <a:cubicBezTo>
                      <a:pt x="345" y="15"/>
                      <a:pt x="336" y="10"/>
                      <a:pt x="327" y="7"/>
                    </a:cubicBezTo>
                    <a:cubicBezTo>
                      <a:pt x="318" y="4"/>
                      <a:pt x="309" y="3"/>
                      <a:pt x="299" y="3"/>
                    </a:cubicBezTo>
                    <a:cubicBezTo>
                      <a:pt x="280" y="2"/>
                      <a:pt x="261" y="4"/>
                      <a:pt x="242" y="3"/>
                    </a:cubicBezTo>
                    <a:cubicBezTo>
                      <a:pt x="227" y="3"/>
                      <a:pt x="211" y="0"/>
                      <a:pt x="196" y="1"/>
                    </a:cubicBezTo>
                    <a:cubicBezTo>
                      <a:pt x="189" y="1"/>
                      <a:pt x="181" y="3"/>
                      <a:pt x="174" y="6"/>
                    </a:cubicBezTo>
                    <a:cubicBezTo>
                      <a:pt x="167" y="8"/>
                      <a:pt x="161" y="13"/>
                      <a:pt x="156" y="19"/>
                    </a:cubicBezTo>
                    <a:close/>
                  </a:path>
                </a:pathLst>
              </a:custGeom>
              <a:solidFill>
                <a:srgbClr val="FDFDFB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70" name="Freeform 18"/>
              <p:cNvSpPr>
                <a:spLocks/>
              </p:cNvSpPr>
              <p:nvPr/>
            </p:nvSpPr>
            <p:spPr bwMode="auto">
              <a:xfrm>
                <a:off x="1811338" y="5070475"/>
                <a:ext cx="1117600" cy="1087438"/>
              </a:xfrm>
              <a:custGeom>
                <a:avLst/>
                <a:gdLst>
                  <a:gd name="T0" fmla="*/ 163 w 386"/>
                  <a:gd name="T1" fmla="*/ 3 h 376"/>
                  <a:gd name="T2" fmla="*/ 183 w 386"/>
                  <a:gd name="T3" fmla="*/ 1 h 376"/>
                  <a:gd name="T4" fmla="*/ 203 w 386"/>
                  <a:gd name="T5" fmla="*/ 9 h 376"/>
                  <a:gd name="T6" fmla="*/ 231 w 386"/>
                  <a:gd name="T7" fmla="*/ 39 h 376"/>
                  <a:gd name="T8" fmla="*/ 284 w 386"/>
                  <a:gd name="T9" fmla="*/ 118 h 376"/>
                  <a:gd name="T10" fmla="*/ 325 w 386"/>
                  <a:gd name="T11" fmla="*/ 184 h 376"/>
                  <a:gd name="T12" fmla="*/ 357 w 386"/>
                  <a:gd name="T13" fmla="*/ 223 h 376"/>
                  <a:gd name="T14" fmla="*/ 380 w 386"/>
                  <a:gd name="T15" fmla="*/ 267 h 376"/>
                  <a:gd name="T16" fmla="*/ 374 w 386"/>
                  <a:gd name="T17" fmla="*/ 331 h 376"/>
                  <a:gd name="T18" fmla="*/ 342 w 386"/>
                  <a:gd name="T19" fmla="*/ 364 h 376"/>
                  <a:gd name="T20" fmla="*/ 298 w 386"/>
                  <a:gd name="T21" fmla="*/ 376 h 376"/>
                  <a:gd name="T22" fmla="*/ 228 w 386"/>
                  <a:gd name="T23" fmla="*/ 353 h 376"/>
                  <a:gd name="T24" fmla="*/ 83 w 386"/>
                  <a:gd name="T25" fmla="*/ 315 h 376"/>
                  <a:gd name="T26" fmla="*/ 39 w 386"/>
                  <a:gd name="T27" fmla="*/ 301 h 376"/>
                  <a:gd name="T28" fmla="*/ 19 w 386"/>
                  <a:gd name="T29" fmla="*/ 295 h 376"/>
                  <a:gd name="T30" fmla="*/ 3 w 386"/>
                  <a:gd name="T31" fmla="*/ 282 h 376"/>
                  <a:gd name="T32" fmla="*/ 0 w 386"/>
                  <a:gd name="T33" fmla="*/ 267 h 376"/>
                  <a:gd name="T34" fmla="*/ 3 w 386"/>
                  <a:gd name="T35" fmla="*/ 252 h 376"/>
                  <a:gd name="T36" fmla="*/ 16 w 386"/>
                  <a:gd name="T37" fmla="*/ 223 h 376"/>
                  <a:gd name="T38" fmla="*/ 23 w 386"/>
                  <a:gd name="T39" fmla="*/ 173 h 376"/>
                  <a:gd name="T40" fmla="*/ 18 w 386"/>
                  <a:gd name="T41" fmla="*/ 122 h 376"/>
                  <a:gd name="T42" fmla="*/ 19 w 386"/>
                  <a:gd name="T43" fmla="*/ 99 h 376"/>
                  <a:gd name="T44" fmla="*/ 29 w 386"/>
                  <a:gd name="T45" fmla="*/ 79 h 376"/>
                  <a:gd name="T46" fmla="*/ 48 w 386"/>
                  <a:gd name="T47" fmla="*/ 70 h 376"/>
                  <a:gd name="T48" fmla="*/ 69 w 386"/>
                  <a:gd name="T49" fmla="*/ 68 h 376"/>
                  <a:gd name="T50" fmla="*/ 91 w 386"/>
                  <a:gd name="T51" fmla="*/ 68 h 376"/>
                  <a:gd name="T52" fmla="*/ 111 w 386"/>
                  <a:gd name="T53" fmla="*/ 63 h 376"/>
                  <a:gd name="T54" fmla="*/ 126 w 386"/>
                  <a:gd name="T55" fmla="*/ 49 h 376"/>
                  <a:gd name="T56" fmla="*/ 136 w 386"/>
                  <a:gd name="T57" fmla="*/ 32 h 376"/>
                  <a:gd name="T58" fmla="*/ 147 w 386"/>
                  <a:gd name="T59" fmla="*/ 15 h 376"/>
                  <a:gd name="T60" fmla="*/ 163 w 386"/>
                  <a:gd name="T61" fmla="*/ 3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86" h="376">
                    <a:moveTo>
                      <a:pt x="163" y="3"/>
                    </a:moveTo>
                    <a:cubicBezTo>
                      <a:pt x="169" y="0"/>
                      <a:pt x="177" y="0"/>
                      <a:pt x="183" y="1"/>
                    </a:cubicBezTo>
                    <a:cubicBezTo>
                      <a:pt x="190" y="2"/>
                      <a:pt x="197" y="5"/>
                      <a:pt x="203" y="9"/>
                    </a:cubicBezTo>
                    <a:cubicBezTo>
                      <a:pt x="214" y="17"/>
                      <a:pt x="223" y="28"/>
                      <a:pt x="231" y="39"/>
                    </a:cubicBezTo>
                    <a:cubicBezTo>
                      <a:pt x="250" y="65"/>
                      <a:pt x="268" y="91"/>
                      <a:pt x="284" y="118"/>
                    </a:cubicBezTo>
                    <a:cubicBezTo>
                      <a:pt x="298" y="140"/>
                      <a:pt x="310" y="163"/>
                      <a:pt x="325" y="184"/>
                    </a:cubicBezTo>
                    <a:cubicBezTo>
                      <a:pt x="335" y="197"/>
                      <a:pt x="347" y="210"/>
                      <a:pt x="357" y="223"/>
                    </a:cubicBezTo>
                    <a:cubicBezTo>
                      <a:pt x="367" y="236"/>
                      <a:pt x="376" y="251"/>
                      <a:pt x="380" y="267"/>
                    </a:cubicBezTo>
                    <a:cubicBezTo>
                      <a:pt x="386" y="288"/>
                      <a:pt x="384" y="312"/>
                      <a:pt x="374" y="331"/>
                    </a:cubicBezTo>
                    <a:cubicBezTo>
                      <a:pt x="366" y="345"/>
                      <a:pt x="355" y="356"/>
                      <a:pt x="342" y="364"/>
                    </a:cubicBezTo>
                    <a:cubicBezTo>
                      <a:pt x="329" y="372"/>
                      <a:pt x="313" y="376"/>
                      <a:pt x="298" y="376"/>
                    </a:cubicBezTo>
                    <a:cubicBezTo>
                      <a:pt x="273" y="375"/>
                      <a:pt x="251" y="362"/>
                      <a:pt x="228" y="353"/>
                    </a:cubicBezTo>
                    <a:cubicBezTo>
                      <a:pt x="181" y="335"/>
                      <a:pt x="131" y="329"/>
                      <a:pt x="83" y="315"/>
                    </a:cubicBezTo>
                    <a:cubicBezTo>
                      <a:pt x="68" y="311"/>
                      <a:pt x="53" y="305"/>
                      <a:pt x="39" y="301"/>
                    </a:cubicBezTo>
                    <a:cubicBezTo>
                      <a:pt x="32" y="300"/>
                      <a:pt x="25" y="298"/>
                      <a:pt x="19" y="295"/>
                    </a:cubicBezTo>
                    <a:cubicBezTo>
                      <a:pt x="13" y="292"/>
                      <a:pt x="7" y="288"/>
                      <a:pt x="3" y="282"/>
                    </a:cubicBezTo>
                    <a:cubicBezTo>
                      <a:pt x="1" y="278"/>
                      <a:pt x="0" y="272"/>
                      <a:pt x="0" y="267"/>
                    </a:cubicBezTo>
                    <a:cubicBezTo>
                      <a:pt x="0" y="262"/>
                      <a:pt x="1" y="257"/>
                      <a:pt x="3" y="252"/>
                    </a:cubicBezTo>
                    <a:cubicBezTo>
                      <a:pt x="6" y="242"/>
                      <a:pt x="12" y="233"/>
                      <a:pt x="16" y="223"/>
                    </a:cubicBezTo>
                    <a:cubicBezTo>
                      <a:pt x="23" y="208"/>
                      <a:pt x="24" y="190"/>
                      <a:pt x="23" y="173"/>
                    </a:cubicBezTo>
                    <a:cubicBezTo>
                      <a:pt x="22" y="156"/>
                      <a:pt x="19" y="139"/>
                      <a:pt x="18" y="122"/>
                    </a:cubicBezTo>
                    <a:cubicBezTo>
                      <a:pt x="17" y="114"/>
                      <a:pt x="17" y="106"/>
                      <a:pt x="19" y="99"/>
                    </a:cubicBezTo>
                    <a:cubicBezTo>
                      <a:pt x="20" y="91"/>
                      <a:pt x="24" y="84"/>
                      <a:pt x="29" y="79"/>
                    </a:cubicBezTo>
                    <a:cubicBezTo>
                      <a:pt x="34" y="74"/>
                      <a:pt x="41" y="71"/>
                      <a:pt x="48" y="70"/>
                    </a:cubicBezTo>
                    <a:cubicBezTo>
                      <a:pt x="55" y="68"/>
                      <a:pt x="62" y="68"/>
                      <a:pt x="69" y="68"/>
                    </a:cubicBezTo>
                    <a:cubicBezTo>
                      <a:pt x="76" y="68"/>
                      <a:pt x="83" y="69"/>
                      <a:pt x="91" y="68"/>
                    </a:cubicBezTo>
                    <a:cubicBezTo>
                      <a:pt x="98" y="68"/>
                      <a:pt x="105" y="66"/>
                      <a:pt x="111" y="63"/>
                    </a:cubicBezTo>
                    <a:cubicBezTo>
                      <a:pt x="117" y="59"/>
                      <a:pt x="122" y="54"/>
                      <a:pt x="126" y="49"/>
                    </a:cubicBezTo>
                    <a:cubicBezTo>
                      <a:pt x="130" y="44"/>
                      <a:pt x="133" y="38"/>
                      <a:pt x="136" y="32"/>
                    </a:cubicBezTo>
                    <a:cubicBezTo>
                      <a:pt x="139" y="26"/>
                      <a:pt x="143" y="20"/>
                      <a:pt x="147" y="15"/>
                    </a:cubicBezTo>
                    <a:cubicBezTo>
                      <a:pt x="152" y="10"/>
                      <a:pt x="157" y="5"/>
                      <a:pt x="163" y="3"/>
                    </a:cubicBezTo>
                    <a:close/>
                  </a:path>
                </a:pathLst>
              </a:custGeom>
              <a:solidFill>
                <a:srgbClr val="0973D1"/>
              </a:solidFill>
              <a:ln w="920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74" name="Freeform 19"/>
              <p:cNvSpPr>
                <a:spLocks/>
              </p:cNvSpPr>
              <p:nvPr/>
            </p:nvSpPr>
            <p:spPr bwMode="auto">
              <a:xfrm>
                <a:off x="3698875" y="5132388"/>
                <a:ext cx="1009650" cy="1035050"/>
              </a:xfrm>
              <a:custGeom>
                <a:avLst/>
                <a:gdLst>
                  <a:gd name="T0" fmla="*/ 347 w 349"/>
                  <a:gd name="T1" fmla="*/ 184 h 358"/>
                  <a:gd name="T2" fmla="*/ 336 w 349"/>
                  <a:gd name="T3" fmla="*/ 203 h 358"/>
                  <a:gd name="T4" fmla="*/ 296 w 349"/>
                  <a:gd name="T5" fmla="*/ 231 h 358"/>
                  <a:gd name="T6" fmla="*/ 222 w 349"/>
                  <a:gd name="T7" fmla="*/ 270 h 358"/>
                  <a:gd name="T8" fmla="*/ 178 w 349"/>
                  <a:gd name="T9" fmla="*/ 305 h 358"/>
                  <a:gd name="T10" fmla="*/ 143 w 349"/>
                  <a:gd name="T11" fmla="*/ 336 h 358"/>
                  <a:gd name="T12" fmla="*/ 98 w 349"/>
                  <a:gd name="T13" fmla="*/ 355 h 358"/>
                  <a:gd name="T14" fmla="*/ 41 w 349"/>
                  <a:gd name="T15" fmla="*/ 346 h 358"/>
                  <a:gd name="T16" fmla="*/ 9 w 349"/>
                  <a:gd name="T17" fmla="*/ 322 h 358"/>
                  <a:gd name="T18" fmla="*/ 0 w 349"/>
                  <a:gd name="T19" fmla="*/ 282 h 358"/>
                  <a:gd name="T20" fmla="*/ 8 w 349"/>
                  <a:gd name="T21" fmla="*/ 210 h 358"/>
                  <a:gd name="T22" fmla="*/ 18 w 349"/>
                  <a:gd name="T23" fmla="*/ 150 h 358"/>
                  <a:gd name="T24" fmla="*/ 19 w 349"/>
                  <a:gd name="T25" fmla="*/ 41 h 358"/>
                  <a:gd name="T26" fmla="*/ 19 w 349"/>
                  <a:gd name="T27" fmla="*/ 23 h 358"/>
                  <a:gd name="T28" fmla="*/ 27 w 349"/>
                  <a:gd name="T29" fmla="*/ 6 h 358"/>
                  <a:gd name="T30" fmla="*/ 43 w 349"/>
                  <a:gd name="T31" fmla="*/ 1 h 358"/>
                  <a:gd name="T32" fmla="*/ 60 w 349"/>
                  <a:gd name="T33" fmla="*/ 2 h 358"/>
                  <a:gd name="T34" fmla="*/ 100 w 349"/>
                  <a:gd name="T35" fmla="*/ 9 h 358"/>
                  <a:gd name="T36" fmla="*/ 124 w 349"/>
                  <a:gd name="T37" fmla="*/ 16 h 358"/>
                  <a:gd name="T38" fmla="*/ 166 w 349"/>
                  <a:gd name="T39" fmla="*/ 20 h 358"/>
                  <a:gd name="T40" fmla="*/ 211 w 349"/>
                  <a:gd name="T41" fmla="*/ 13 h 358"/>
                  <a:gd name="T42" fmla="*/ 230 w 349"/>
                  <a:gd name="T43" fmla="*/ 16 h 358"/>
                  <a:gd name="T44" fmla="*/ 246 w 349"/>
                  <a:gd name="T45" fmla="*/ 25 h 358"/>
                  <a:gd name="T46" fmla="*/ 254 w 349"/>
                  <a:gd name="T47" fmla="*/ 38 h 358"/>
                  <a:gd name="T48" fmla="*/ 259 w 349"/>
                  <a:gd name="T49" fmla="*/ 58 h 358"/>
                  <a:gd name="T50" fmla="*/ 260 w 349"/>
                  <a:gd name="T51" fmla="*/ 77 h 358"/>
                  <a:gd name="T52" fmla="*/ 275 w 349"/>
                  <a:gd name="T53" fmla="*/ 105 h 358"/>
                  <a:gd name="T54" fmla="*/ 298 w 349"/>
                  <a:gd name="T55" fmla="*/ 127 h 358"/>
                  <a:gd name="T56" fmla="*/ 322 w 349"/>
                  <a:gd name="T57" fmla="*/ 146 h 358"/>
                  <a:gd name="T58" fmla="*/ 334 w 349"/>
                  <a:gd name="T59" fmla="*/ 154 h 358"/>
                  <a:gd name="T60" fmla="*/ 344 w 349"/>
                  <a:gd name="T61" fmla="*/ 165 h 358"/>
                  <a:gd name="T62" fmla="*/ 347 w 349"/>
                  <a:gd name="T63" fmla="*/ 184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9" h="358">
                    <a:moveTo>
                      <a:pt x="347" y="184"/>
                    </a:moveTo>
                    <a:cubicBezTo>
                      <a:pt x="344" y="191"/>
                      <a:pt x="341" y="197"/>
                      <a:pt x="336" y="203"/>
                    </a:cubicBezTo>
                    <a:cubicBezTo>
                      <a:pt x="325" y="216"/>
                      <a:pt x="311" y="224"/>
                      <a:pt x="296" y="231"/>
                    </a:cubicBezTo>
                    <a:cubicBezTo>
                      <a:pt x="271" y="244"/>
                      <a:pt x="245" y="255"/>
                      <a:pt x="222" y="270"/>
                    </a:cubicBezTo>
                    <a:cubicBezTo>
                      <a:pt x="206" y="280"/>
                      <a:pt x="192" y="292"/>
                      <a:pt x="178" y="305"/>
                    </a:cubicBezTo>
                    <a:cubicBezTo>
                      <a:pt x="166" y="316"/>
                      <a:pt x="155" y="327"/>
                      <a:pt x="143" y="336"/>
                    </a:cubicBezTo>
                    <a:cubicBezTo>
                      <a:pt x="129" y="346"/>
                      <a:pt x="114" y="353"/>
                      <a:pt x="98" y="355"/>
                    </a:cubicBezTo>
                    <a:cubicBezTo>
                      <a:pt x="79" y="358"/>
                      <a:pt x="59" y="354"/>
                      <a:pt x="41" y="346"/>
                    </a:cubicBezTo>
                    <a:cubicBezTo>
                      <a:pt x="28" y="341"/>
                      <a:pt x="16" y="333"/>
                      <a:pt x="9" y="322"/>
                    </a:cubicBezTo>
                    <a:cubicBezTo>
                      <a:pt x="1" y="310"/>
                      <a:pt x="0" y="296"/>
                      <a:pt x="0" y="282"/>
                    </a:cubicBezTo>
                    <a:cubicBezTo>
                      <a:pt x="0" y="258"/>
                      <a:pt x="4" y="234"/>
                      <a:pt x="8" y="210"/>
                    </a:cubicBezTo>
                    <a:cubicBezTo>
                      <a:pt x="12" y="190"/>
                      <a:pt x="15" y="170"/>
                      <a:pt x="18" y="150"/>
                    </a:cubicBezTo>
                    <a:cubicBezTo>
                      <a:pt x="21" y="114"/>
                      <a:pt x="21" y="77"/>
                      <a:pt x="19" y="41"/>
                    </a:cubicBezTo>
                    <a:cubicBezTo>
                      <a:pt x="18" y="35"/>
                      <a:pt x="18" y="29"/>
                      <a:pt x="19" y="23"/>
                    </a:cubicBezTo>
                    <a:cubicBezTo>
                      <a:pt x="20" y="16"/>
                      <a:pt x="22" y="10"/>
                      <a:pt x="27" y="6"/>
                    </a:cubicBezTo>
                    <a:cubicBezTo>
                      <a:pt x="31" y="3"/>
                      <a:pt x="37" y="1"/>
                      <a:pt x="43" y="1"/>
                    </a:cubicBezTo>
                    <a:cubicBezTo>
                      <a:pt x="49" y="0"/>
                      <a:pt x="54" y="1"/>
                      <a:pt x="60" y="2"/>
                    </a:cubicBezTo>
                    <a:cubicBezTo>
                      <a:pt x="73" y="4"/>
                      <a:pt x="87" y="6"/>
                      <a:pt x="100" y="9"/>
                    </a:cubicBezTo>
                    <a:cubicBezTo>
                      <a:pt x="108" y="11"/>
                      <a:pt x="116" y="14"/>
                      <a:pt x="124" y="16"/>
                    </a:cubicBezTo>
                    <a:cubicBezTo>
                      <a:pt x="138" y="20"/>
                      <a:pt x="152" y="22"/>
                      <a:pt x="166" y="20"/>
                    </a:cubicBezTo>
                    <a:cubicBezTo>
                      <a:pt x="181" y="18"/>
                      <a:pt x="196" y="13"/>
                      <a:pt x="211" y="13"/>
                    </a:cubicBezTo>
                    <a:cubicBezTo>
                      <a:pt x="218" y="13"/>
                      <a:pt x="224" y="14"/>
                      <a:pt x="230" y="16"/>
                    </a:cubicBezTo>
                    <a:cubicBezTo>
                      <a:pt x="236" y="18"/>
                      <a:pt x="242" y="21"/>
                      <a:pt x="246" y="25"/>
                    </a:cubicBezTo>
                    <a:cubicBezTo>
                      <a:pt x="250" y="29"/>
                      <a:pt x="252" y="33"/>
                      <a:pt x="254" y="38"/>
                    </a:cubicBezTo>
                    <a:cubicBezTo>
                      <a:pt x="257" y="44"/>
                      <a:pt x="258" y="51"/>
                      <a:pt x="259" y="58"/>
                    </a:cubicBezTo>
                    <a:cubicBezTo>
                      <a:pt x="259" y="65"/>
                      <a:pt x="259" y="71"/>
                      <a:pt x="260" y="77"/>
                    </a:cubicBezTo>
                    <a:cubicBezTo>
                      <a:pt x="262" y="88"/>
                      <a:pt x="268" y="97"/>
                      <a:pt x="275" y="105"/>
                    </a:cubicBezTo>
                    <a:cubicBezTo>
                      <a:pt x="281" y="113"/>
                      <a:pt x="289" y="120"/>
                      <a:pt x="298" y="127"/>
                    </a:cubicBezTo>
                    <a:cubicBezTo>
                      <a:pt x="306" y="133"/>
                      <a:pt x="314" y="140"/>
                      <a:pt x="322" y="146"/>
                    </a:cubicBezTo>
                    <a:cubicBezTo>
                      <a:pt x="326" y="149"/>
                      <a:pt x="331" y="151"/>
                      <a:pt x="334" y="154"/>
                    </a:cubicBezTo>
                    <a:cubicBezTo>
                      <a:pt x="338" y="157"/>
                      <a:pt x="342" y="161"/>
                      <a:pt x="344" y="165"/>
                    </a:cubicBezTo>
                    <a:cubicBezTo>
                      <a:pt x="348" y="171"/>
                      <a:pt x="349" y="178"/>
                      <a:pt x="347" y="184"/>
                    </a:cubicBezTo>
                    <a:close/>
                  </a:path>
                </a:pathLst>
              </a:custGeom>
              <a:solidFill>
                <a:srgbClr val="0973D1"/>
              </a:solidFill>
              <a:ln w="920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75" name="Freeform 20"/>
              <p:cNvSpPr>
                <a:spLocks/>
              </p:cNvSpPr>
              <p:nvPr/>
            </p:nvSpPr>
            <p:spPr bwMode="auto">
              <a:xfrm>
                <a:off x="2841625" y="3228975"/>
                <a:ext cx="246063" cy="387350"/>
              </a:xfrm>
              <a:custGeom>
                <a:avLst/>
                <a:gdLst>
                  <a:gd name="T0" fmla="*/ 35 w 85"/>
                  <a:gd name="T1" fmla="*/ 0 h 134"/>
                  <a:gd name="T2" fmla="*/ 16 w 85"/>
                  <a:gd name="T3" fmla="*/ 9 h 134"/>
                  <a:gd name="T4" fmla="*/ 5 w 85"/>
                  <a:gd name="T5" fmla="*/ 27 h 134"/>
                  <a:gd name="T6" fmla="*/ 2 w 85"/>
                  <a:gd name="T7" fmla="*/ 69 h 134"/>
                  <a:gd name="T8" fmla="*/ 9 w 85"/>
                  <a:gd name="T9" fmla="*/ 107 h 134"/>
                  <a:gd name="T10" fmla="*/ 19 w 85"/>
                  <a:gd name="T11" fmla="*/ 123 h 134"/>
                  <a:gd name="T12" fmla="*/ 36 w 85"/>
                  <a:gd name="T13" fmla="*/ 133 h 134"/>
                  <a:gd name="T14" fmla="*/ 54 w 85"/>
                  <a:gd name="T15" fmla="*/ 132 h 134"/>
                  <a:gd name="T16" fmla="*/ 69 w 85"/>
                  <a:gd name="T17" fmla="*/ 123 h 134"/>
                  <a:gd name="T18" fmla="*/ 82 w 85"/>
                  <a:gd name="T19" fmla="*/ 100 h 134"/>
                  <a:gd name="T20" fmla="*/ 85 w 85"/>
                  <a:gd name="T21" fmla="*/ 74 h 134"/>
                  <a:gd name="T22" fmla="*/ 80 w 85"/>
                  <a:gd name="T23" fmla="*/ 41 h 134"/>
                  <a:gd name="T24" fmla="*/ 63 w 85"/>
                  <a:gd name="T25" fmla="*/ 13 h 134"/>
                  <a:gd name="T26" fmla="*/ 50 w 85"/>
                  <a:gd name="T27" fmla="*/ 3 h 134"/>
                  <a:gd name="T28" fmla="*/ 35 w 85"/>
                  <a:gd name="T29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5" h="134">
                    <a:moveTo>
                      <a:pt x="35" y="0"/>
                    </a:moveTo>
                    <a:cubicBezTo>
                      <a:pt x="28" y="0"/>
                      <a:pt x="21" y="4"/>
                      <a:pt x="16" y="9"/>
                    </a:cubicBezTo>
                    <a:cubicBezTo>
                      <a:pt x="11" y="13"/>
                      <a:pt x="7" y="20"/>
                      <a:pt x="5" y="27"/>
                    </a:cubicBezTo>
                    <a:cubicBezTo>
                      <a:pt x="0" y="40"/>
                      <a:pt x="1" y="55"/>
                      <a:pt x="2" y="69"/>
                    </a:cubicBezTo>
                    <a:cubicBezTo>
                      <a:pt x="3" y="82"/>
                      <a:pt x="4" y="95"/>
                      <a:pt x="9" y="107"/>
                    </a:cubicBezTo>
                    <a:cubicBezTo>
                      <a:pt x="11" y="113"/>
                      <a:pt x="15" y="119"/>
                      <a:pt x="19" y="123"/>
                    </a:cubicBezTo>
                    <a:cubicBezTo>
                      <a:pt x="24" y="128"/>
                      <a:pt x="29" y="131"/>
                      <a:pt x="36" y="133"/>
                    </a:cubicBezTo>
                    <a:cubicBezTo>
                      <a:pt x="42" y="134"/>
                      <a:pt x="48" y="134"/>
                      <a:pt x="54" y="132"/>
                    </a:cubicBezTo>
                    <a:cubicBezTo>
                      <a:pt x="59" y="131"/>
                      <a:pt x="65" y="127"/>
                      <a:pt x="69" y="123"/>
                    </a:cubicBezTo>
                    <a:cubicBezTo>
                      <a:pt x="75" y="117"/>
                      <a:pt x="80" y="109"/>
                      <a:pt x="82" y="100"/>
                    </a:cubicBezTo>
                    <a:cubicBezTo>
                      <a:pt x="84" y="92"/>
                      <a:pt x="85" y="83"/>
                      <a:pt x="85" y="74"/>
                    </a:cubicBezTo>
                    <a:cubicBezTo>
                      <a:pt x="85" y="63"/>
                      <a:pt x="83" y="52"/>
                      <a:pt x="80" y="41"/>
                    </a:cubicBezTo>
                    <a:cubicBezTo>
                      <a:pt x="76" y="31"/>
                      <a:pt x="71" y="21"/>
                      <a:pt x="63" y="13"/>
                    </a:cubicBezTo>
                    <a:cubicBezTo>
                      <a:pt x="60" y="9"/>
                      <a:pt x="55" y="6"/>
                      <a:pt x="50" y="3"/>
                    </a:cubicBezTo>
                    <a:cubicBezTo>
                      <a:pt x="46" y="1"/>
                      <a:pt x="40" y="0"/>
                      <a:pt x="3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11" name="Freeform 21"/>
              <p:cNvSpPr>
                <a:spLocks/>
              </p:cNvSpPr>
              <p:nvPr/>
            </p:nvSpPr>
            <p:spPr bwMode="auto">
              <a:xfrm>
                <a:off x="3217863" y="3203575"/>
                <a:ext cx="336550" cy="411163"/>
              </a:xfrm>
              <a:custGeom>
                <a:avLst/>
                <a:gdLst>
                  <a:gd name="T0" fmla="*/ 31 w 116"/>
                  <a:gd name="T1" fmla="*/ 9 h 142"/>
                  <a:gd name="T2" fmla="*/ 6 w 116"/>
                  <a:gd name="T3" fmla="*/ 40 h 142"/>
                  <a:gd name="T4" fmla="*/ 8 w 116"/>
                  <a:gd name="T5" fmla="*/ 90 h 142"/>
                  <a:gd name="T6" fmla="*/ 38 w 116"/>
                  <a:gd name="T7" fmla="*/ 132 h 142"/>
                  <a:gd name="T8" fmla="*/ 62 w 116"/>
                  <a:gd name="T9" fmla="*/ 141 h 142"/>
                  <a:gd name="T10" fmla="*/ 87 w 116"/>
                  <a:gd name="T11" fmla="*/ 137 h 142"/>
                  <a:gd name="T12" fmla="*/ 108 w 116"/>
                  <a:gd name="T13" fmla="*/ 114 h 142"/>
                  <a:gd name="T14" fmla="*/ 115 w 116"/>
                  <a:gd name="T15" fmla="*/ 83 h 142"/>
                  <a:gd name="T16" fmla="*/ 110 w 116"/>
                  <a:gd name="T17" fmla="*/ 43 h 142"/>
                  <a:gd name="T18" fmla="*/ 84 w 116"/>
                  <a:gd name="T19" fmla="*/ 8 h 142"/>
                  <a:gd name="T20" fmla="*/ 64 w 116"/>
                  <a:gd name="T21" fmla="*/ 1 h 142"/>
                  <a:gd name="T22" fmla="*/ 42 w 116"/>
                  <a:gd name="T23" fmla="*/ 3 h 142"/>
                  <a:gd name="T24" fmla="*/ 31 w 116"/>
                  <a:gd name="T25" fmla="*/ 9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142">
                    <a:moveTo>
                      <a:pt x="31" y="9"/>
                    </a:moveTo>
                    <a:cubicBezTo>
                      <a:pt x="20" y="17"/>
                      <a:pt x="11" y="27"/>
                      <a:pt x="6" y="40"/>
                    </a:cubicBezTo>
                    <a:cubicBezTo>
                      <a:pt x="0" y="56"/>
                      <a:pt x="2" y="74"/>
                      <a:pt x="8" y="90"/>
                    </a:cubicBezTo>
                    <a:cubicBezTo>
                      <a:pt x="14" y="106"/>
                      <a:pt x="23" y="122"/>
                      <a:pt x="38" y="132"/>
                    </a:cubicBezTo>
                    <a:cubicBezTo>
                      <a:pt x="45" y="137"/>
                      <a:pt x="53" y="140"/>
                      <a:pt x="62" y="141"/>
                    </a:cubicBezTo>
                    <a:cubicBezTo>
                      <a:pt x="70" y="142"/>
                      <a:pt x="79" y="141"/>
                      <a:pt x="87" y="137"/>
                    </a:cubicBezTo>
                    <a:cubicBezTo>
                      <a:pt x="96" y="132"/>
                      <a:pt x="104" y="124"/>
                      <a:pt x="108" y="114"/>
                    </a:cubicBezTo>
                    <a:cubicBezTo>
                      <a:pt x="113" y="104"/>
                      <a:pt x="114" y="94"/>
                      <a:pt x="115" y="83"/>
                    </a:cubicBezTo>
                    <a:cubicBezTo>
                      <a:pt x="116" y="69"/>
                      <a:pt x="114" y="56"/>
                      <a:pt x="110" y="43"/>
                    </a:cubicBezTo>
                    <a:cubicBezTo>
                      <a:pt x="105" y="29"/>
                      <a:pt x="96" y="16"/>
                      <a:pt x="84" y="8"/>
                    </a:cubicBezTo>
                    <a:cubicBezTo>
                      <a:pt x="78" y="4"/>
                      <a:pt x="71" y="2"/>
                      <a:pt x="64" y="1"/>
                    </a:cubicBezTo>
                    <a:cubicBezTo>
                      <a:pt x="56" y="0"/>
                      <a:pt x="49" y="0"/>
                      <a:pt x="42" y="3"/>
                    </a:cubicBezTo>
                    <a:cubicBezTo>
                      <a:pt x="38" y="5"/>
                      <a:pt x="34" y="7"/>
                      <a:pt x="31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13" name="Freeform 22"/>
              <p:cNvSpPr>
                <a:spLocks/>
              </p:cNvSpPr>
              <p:nvPr/>
            </p:nvSpPr>
            <p:spPr bwMode="auto">
              <a:xfrm>
                <a:off x="2986088" y="3386138"/>
                <a:ext cx="357188" cy="260350"/>
              </a:xfrm>
              <a:custGeom>
                <a:avLst/>
                <a:gdLst>
                  <a:gd name="T0" fmla="*/ 18 w 123"/>
                  <a:gd name="T1" fmla="*/ 40 h 90"/>
                  <a:gd name="T2" fmla="*/ 37 w 123"/>
                  <a:gd name="T3" fmla="*/ 14 h 90"/>
                  <a:gd name="T4" fmla="*/ 49 w 123"/>
                  <a:gd name="T5" fmla="*/ 4 h 90"/>
                  <a:gd name="T6" fmla="*/ 64 w 123"/>
                  <a:gd name="T7" fmla="*/ 0 h 90"/>
                  <a:gd name="T8" fmla="*/ 80 w 123"/>
                  <a:gd name="T9" fmla="*/ 7 h 90"/>
                  <a:gd name="T10" fmla="*/ 90 w 123"/>
                  <a:gd name="T11" fmla="*/ 22 h 90"/>
                  <a:gd name="T12" fmla="*/ 98 w 123"/>
                  <a:gd name="T13" fmla="*/ 37 h 90"/>
                  <a:gd name="T14" fmla="*/ 112 w 123"/>
                  <a:gd name="T15" fmla="*/ 49 h 90"/>
                  <a:gd name="T16" fmla="*/ 118 w 123"/>
                  <a:gd name="T17" fmla="*/ 55 h 90"/>
                  <a:gd name="T18" fmla="*/ 122 w 123"/>
                  <a:gd name="T19" fmla="*/ 63 h 90"/>
                  <a:gd name="T20" fmla="*/ 122 w 123"/>
                  <a:gd name="T21" fmla="*/ 72 h 90"/>
                  <a:gd name="T22" fmla="*/ 117 w 123"/>
                  <a:gd name="T23" fmla="*/ 80 h 90"/>
                  <a:gd name="T24" fmla="*/ 100 w 123"/>
                  <a:gd name="T25" fmla="*/ 87 h 90"/>
                  <a:gd name="T26" fmla="*/ 63 w 123"/>
                  <a:gd name="T27" fmla="*/ 86 h 90"/>
                  <a:gd name="T28" fmla="*/ 26 w 123"/>
                  <a:gd name="T29" fmla="*/ 90 h 90"/>
                  <a:gd name="T30" fmla="*/ 9 w 123"/>
                  <a:gd name="T31" fmla="*/ 85 h 90"/>
                  <a:gd name="T32" fmla="*/ 2 w 123"/>
                  <a:gd name="T33" fmla="*/ 78 h 90"/>
                  <a:gd name="T34" fmla="*/ 0 w 123"/>
                  <a:gd name="T35" fmla="*/ 69 h 90"/>
                  <a:gd name="T36" fmla="*/ 1 w 123"/>
                  <a:gd name="T37" fmla="*/ 60 h 90"/>
                  <a:gd name="T38" fmla="*/ 6 w 123"/>
                  <a:gd name="T39" fmla="*/ 53 h 90"/>
                  <a:gd name="T40" fmla="*/ 18 w 123"/>
                  <a:gd name="T41" fmla="*/ 4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3" h="90">
                    <a:moveTo>
                      <a:pt x="18" y="40"/>
                    </a:moveTo>
                    <a:cubicBezTo>
                      <a:pt x="25" y="32"/>
                      <a:pt x="30" y="22"/>
                      <a:pt x="37" y="14"/>
                    </a:cubicBezTo>
                    <a:cubicBezTo>
                      <a:pt x="40" y="10"/>
                      <a:pt x="44" y="6"/>
                      <a:pt x="49" y="4"/>
                    </a:cubicBezTo>
                    <a:cubicBezTo>
                      <a:pt x="54" y="1"/>
                      <a:pt x="59" y="0"/>
                      <a:pt x="64" y="0"/>
                    </a:cubicBezTo>
                    <a:cubicBezTo>
                      <a:pt x="70" y="1"/>
                      <a:pt x="76" y="3"/>
                      <a:pt x="80" y="7"/>
                    </a:cubicBezTo>
                    <a:cubicBezTo>
                      <a:pt x="84" y="12"/>
                      <a:pt x="88" y="17"/>
                      <a:pt x="90" y="22"/>
                    </a:cubicBezTo>
                    <a:cubicBezTo>
                      <a:pt x="93" y="27"/>
                      <a:pt x="94" y="33"/>
                      <a:pt x="98" y="37"/>
                    </a:cubicBezTo>
                    <a:cubicBezTo>
                      <a:pt x="102" y="42"/>
                      <a:pt x="107" y="45"/>
                      <a:pt x="112" y="49"/>
                    </a:cubicBezTo>
                    <a:cubicBezTo>
                      <a:pt x="114" y="51"/>
                      <a:pt x="116" y="53"/>
                      <a:pt x="118" y="55"/>
                    </a:cubicBezTo>
                    <a:cubicBezTo>
                      <a:pt x="120" y="57"/>
                      <a:pt x="122" y="60"/>
                      <a:pt x="122" y="63"/>
                    </a:cubicBezTo>
                    <a:cubicBezTo>
                      <a:pt x="123" y="66"/>
                      <a:pt x="123" y="69"/>
                      <a:pt x="122" y="72"/>
                    </a:cubicBezTo>
                    <a:cubicBezTo>
                      <a:pt x="121" y="75"/>
                      <a:pt x="119" y="78"/>
                      <a:pt x="117" y="80"/>
                    </a:cubicBezTo>
                    <a:cubicBezTo>
                      <a:pt x="112" y="84"/>
                      <a:pt x="106" y="86"/>
                      <a:pt x="100" y="87"/>
                    </a:cubicBezTo>
                    <a:cubicBezTo>
                      <a:pt x="88" y="89"/>
                      <a:pt x="76" y="85"/>
                      <a:pt x="63" y="86"/>
                    </a:cubicBezTo>
                    <a:cubicBezTo>
                      <a:pt x="51" y="86"/>
                      <a:pt x="39" y="90"/>
                      <a:pt x="26" y="90"/>
                    </a:cubicBezTo>
                    <a:cubicBezTo>
                      <a:pt x="20" y="90"/>
                      <a:pt x="14" y="88"/>
                      <a:pt x="9" y="85"/>
                    </a:cubicBezTo>
                    <a:cubicBezTo>
                      <a:pt x="6" y="83"/>
                      <a:pt x="4" y="80"/>
                      <a:pt x="2" y="78"/>
                    </a:cubicBezTo>
                    <a:cubicBezTo>
                      <a:pt x="1" y="75"/>
                      <a:pt x="0" y="72"/>
                      <a:pt x="0" y="69"/>
                    </a:cubicBezTo>
                    <a:cubicBezTo>
                      <a:pt x="0" y="66"/>
                      <a:pt x="0" y="63"/>
                      <a:pt x="1" y="60"/>
                    </a:cubicBezTo>
                    <a:cubicBezTo>
                      <a:pt x="3" y="58"/>
                      <a:pt x="4" y="55"/>
                      <a:pt x="6" y="53"/>
                    </a:cubicBezTo>
                    <a:cubicBezTo>
                      <a:pt x="10" y="48"/>
                      <a:pt x="14" y="44"/>
                      <a:pt x="18" y="40"/>
                    </a:cubicBezTo>
                    <a:close/>
                  </a:path>
                </a:pathLst>
              </a:custGeom>
              <a:solidFill>
                <a:srgbClr val="0973D1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14" name="Freeform 23"/>
              <p:cNvSpPr>
                <a:spLocks/>
              </p:cNvSpPr>
              <p:nvPr/>
            </p:nvSpPr>
            <p:spPr bwMode="auto">
              <a:xfrm>
                <a:off x="3702050" y="3890963"/>
                <a:ext cx="719138" cy="1403350"/>
              </a:xfrm>
              <a:custGeom>
                <a:avLst/>
                <a:gdLst>
                  <a:gd name="T0" fmla="*/ 101 w 249"/>
                  <a:gd name="T1" fmla="*/ 183 h 485"/>
                  <a:gd name="T2" fmla="*/ 146 w 249"/>
                  <a:gd name="T3" fmla="*/ 263 h 485"/>
                  <a:gd name="T4" fmla="*/ 142 w 249"/>
                  <a:gd name="T5" fmla="*/ 336 h 485"/>
                  <a:gd name="T6" fmla="*/ 120 w 249"/>
                  <a:gd name="T7" fmla="*/ 405 h 485"/>
                  <a:gd name="T8" fmla="*/ 112 w 249"/>
                  <a:gd name="T9" fmla="*/ 433 h 485"/>
                  <a:gd name="T10" fmla="*/ 116 w 249"/>
                  <a:gd name="T11" fmla="*/ 462 h 485"/>
                  <a:gd name="T12" fmla="*/ 142 w 249"/>
                  <a:gd name="T13" fmla="*/ 482 h 485"/>
                  <a:gd name="T14" fmla="*/ 174 w 249"/>
                  <a:gd name="T15" fmla="*/ 482 h 485"/>
                  <a:gd name="T16" fmla="*/ 204 w 249"/>
                  <a:gd name="T17" fmla="*/ 467 h 485"/>
                  <a:gd name="T18" fmla="*/ 244 w 249"/>
                  <a:gd name="T19" fmla="*/ 396 h 485"/>
                  <a:gd name="T20" fmla="*/ 242 w 249"/>
                  <a:gd name="T21" fmla="*/ 313 h 485"/>
                  <a:gd name="T22" fmla="*/ 211 w 249"/>
                  <a:gd name="T23" fmla="*/ 203 h 485"/>
                  <a:gd name="T24" fmla="*/ 172 w 249"/>
                  <a:gd name="T25" fmla="*/ 129 h 485"/>
                  <a:gd name="T26" fmla="*/ 118 w 249"/>
                  <a:gd name="T27" fmla="*/ 66 h 485"/>
                  <a:gd name="T28" fmla="*/ 85 w 249"/>
                  <a:gd name="T29" fmla="*/ 20 h 485"/>
                  <a:gd name="T30" fmla="*/ 61 w 249"/>
                  <a:gd name="T31" fmla="*/ 4 h 485"/>
                  <a:gd name="T32" fmla="*/ 33 w 249"/>
                  <a:gd name="T33" fmla="*/ 3 h 485"/>
                  <a:gd name="T34" fmla="*/ 6 w 249"/>
                  <a:gd name="T35" fmla="*/ 27 h 485"/>
                  <a:gd name="T36" fmla="*/ 2 w 249"/>
                  <a:gd name="T37" fmla="*/ 64 h 485"/>
                  <a:gd name="T38" fmla="*/ 20 w 249"/>
                  <a:gd name="T39" fmla="*/ 108 h 485"/>
                  <a:gd name="T40" fmla="*/ 54 w 249"/>
                  <a:gd name="T41" fmla="*/ 151 h 485"/>
                  <a:gd name="T42" fmla="*/ 101 w 249"/>
                  <a:gd name="T43" fmla="*/ 183 h 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9" h="485">
                    <a:moveTo>
                      <a:pt x="101" y="183"/>
                    </a:moveTo>
                    <a:cubicBezTo>
                      <a:pt x="126" y="203"/>
                      <a:pt x="141" y="232"/>
                      <a:pt x="146" y="263"/>
                    </a:cubicBezTo>
                    <a:cubicBezTo>
                      <a:pt x="150" y="287"/>
                      <a:pt x="147" y="312"/>
                      <a:pt x="142" y="336"/>
                    </a:cubicBezTo>
                    <a:cubicBezTo>
                      <a:pt x="136" y="360"/>
                      <a:pt x="128" y="383"/>
                      <a:pt x="120" y="405"/>
                    </a:cubicBezTo>
                    <a:cubicBezTo>
                      <a:pt x="116" y="415"/>
                      <a:pt x="113" y="424"/>
                      <a:pt x="112" y="433"/>
                    </a:cubicBezTo>
                    <a:cubicBezTo>
                      <a:pt x="110" y="443"/>
                      <a:pt x="111" y="453"/>
                      <a:pt x="116" y="462"/>
                    </a:cubicBezTo>
                    <a:cubicBezTo>
                      <a:pt x="121" y="472"/>
                      <a:pt x="131" y="478"/>
                      <a:pt x="142" y="482"/>
                    </a:cubicBezTo>
                    <a:cubicBezTo>
                      <a:pt x="152" y="485"/>
                      <a:pt x="164" y="485"/>
                      <a:pt x="174" y="482"/>
                    </a:cubicBezTo>
                    <a:cubicBezTo>
                      <a:pt x="185" y="479"/>
                      <a:pt x="195" y="474"/>
                      <a:pt x="204" y="467"/>
                    </a:cubicBezTo>
                    <a:cubicBezTo>
                      <a:pt x="226" y="450"/>
                      <a:pt x="239" y="424"/>
                      <a:pt x="244" y="396"/>
                    </a:cubicBezTo>
                    <a:cubicBezTo>
                      <a:pt x="249" y="369"/>
                      <a:pt x="247" y="340"/>
                      <a:pt x="242" y="313"/>
                    </a:cubicBezTo>
                    <a:cubicBezTo>
                      <a:pt x="236" y="275"/>
                      <a:pt x="225" y="239"/>
                      <a:pt x="211" y="203"/>
                    </a:cubicBezTo>
                    <a:cubicBezTo>
                      <a:pt x="200" y="177"/>
                      <a:pt x="188" y="151"/>
                      <a:pt x="172" y="129"/>
                    </a:cubicBezTo>
                    <a:cubicBezTo>
                      <a:pt x="155" y="107"/>
                      <a:pt x="134" y="89"/>
                      <a:pt x="118" y="66"/>
                    </a:cubicBezTo>
                    <a:cubicBezTo>
                      <a:pt x="107" y="51"/>
                      <a:pt x="98" y="34"/>
                      <a:pt x="85" y="20"/>
                    </a:cubicBezTo>
                    <a:cubicBezTo>
                      <a:pt x="78" y="14"/>
                      <a:pt x="70" y="8"/>
                      <a:pt x="61" y="4"/>
                    </a:cubicBezTo>
                    <a:cubicBezTo>
                      <a:pt x="52" y="1"/>
                      <a:pt x="42" y="0"/>
                      <a:pt x="33" y="3"/>
                    </a:cubicBezTo>
                    <a:cubicBezTo>
                      <a:pt x="21" y="6"/>
                      <a:pt x="11" y="15"/>
                      <a:pt x="6" y="27"/>
                    </a:cubicBezTo>
                    <a:cubicBezTo>
                      <a:pt x="1" y="38"/>
                      <a:pt x="0" y="51"/>
                      <a:pt x="2" y="64"/>
                    </a:cubicBezTo>
                    <a:cubicBezTo>
                      <a:pt x="4" y="80"/>
                      <a:pt x="12" y="95"/>
                      <a:pt x="20" y="108"/>
                    </a:cubicBezTo>
                    <a:cubicBezTo>
                      <a:pt x="29" y="124"/>
                      <a:pt x="40" y="139"/>
                      <a:pt x="54" y="151"/>
                    </a:cubicBezTo>
                    <a:cubicBezTo>
                      <a:pt x="69" y="163"/>
                      <a:pt x="87" y="171"/>
                      <a:pt x="101" y="183"/>
                    </a:cubicBezTo>
                    <a:close/>
                  </a:path>
                </a:pathLst>
              </a:custGeom>
              <a:solidFill>
                <a:srgbClr val="0973D1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15" name="Freeform 24"/>
              <p:cNvSpPr>
                <a:spLocks/>
              </p:cNvSpPr>
              <p:nvPr/>
            </p:nvSpPr>
            <p:spPr bwMode="auto">
              <a:xfrm>
                <a:off x="3702050" y="5119688"/>
                <a:ext cx="1003300" cy="1035050"/>
              </a:xfrm>
              <a:custGeom>
                <a:avLst/>
                <a:gdLst>
                  <a:gd name="T0" fmla="*/ 345 w 347"/>
                  <a:gd name="T1" fmla="*/ 184 h 358"/>
                  <a:gd name="T2" fmla="*/ 334 w 347"/>
                  <a:gd name="T3" fmla="*/ 203 h 358"/>
                  <a:gd name="T4" fmla="*/ 294 w 347"/>
                  <a:gd name="T5" fmla="*/ 231 h 358"/>
                  <a:gd name="T6" fmla="*/ 220 w 347"/>
                  <a:gd name="T7" fmla="*/ 270 h 358"/>
                  <a:gd name="T8" fmla="*/ 177 w 347"/>
                  <a:gd name="T9" fmla="*/ 305 h 358"/>
                  <a:gd name="T10" fmla="*/ 142 w 347"/>
                  <a:gd name="T11" fmla="*/ 337 h 358"/>
                  <a:gd name="T12" fmla="*/ 98 w 347"/>
                  <a:gd name="T13" fmla="*/ 356 h 358"/>
                  <a:gd name="T14" fmla="*/ 41 w 347"/>
                  <a:gd name="T15" fmla="*/ 347 h 358"/>
                  <a:gd name="T16" fmla="*/ 9 w 347"/>
                  <a:gd name="T17" fmla="*/ 322 h 358"/>
                  <a:gd name="T18" fmla="*/ 0 w 347"/>
                  <a:gd name="T19" fmla="*/ 282 h 358"/>
                  <a:gd name="T20" fmla="*/ 8 w 347"/>
                  <a:gd name="T21" fmla="*/ 210 h 358"/>
                  <a:gd name="T22" fmla="*/ 18 w 347"/>
                  <a:gd name="T23" fmla="*/ 150 h 358"/>
                  <a:gd name="T24" fmla="*/ 19 w 347"/>
                  <a:gd name="T25" fmla="*/ 40 h 358"/>
                  <a:gd name="T26" fmla="*/ 19 w 347"/>
                  <a:gd name="T27" fmla="*/ 22 h 358"/>
                  <a:gd name="T28" fmla="*/ 27 w 347"/>
                  <a:gd name="T29" fmla="*/ 6 h 358"/>
                  <a:gd name="T30" fmla="*/ 43 w 347"/>
                  <a:gd name="T31" fmla="*/ 0 h 358"/>
                  <a:gd name="T32" fmla="*/ 60 w 347"/>
                  <a:gd name="T33" fmla="*/ 1 h 358"/>
                  <a:gd name="T34" fmla="*/ 99 w 347"/>
                  <a:gd name="T35" fmla="*/ 8 h 358"/>
                  <a:gd name="T36" fmla="*/ 123 w 347"/>
                  <a:gd name="T37" fmla="*/ 15 h 358"/>
                  <a:gd name="T38" fmla="*/ 165 w 347"/>
                  <a:gd name="T39" fmla="*/ 19 h 358"/>
                  <a:gd name="T40" fmla="*/ 210 w 347"/>
                  <a:gd name="T41" fmla="*/ 12 h 358"/>
                  <a:gd name="T42" fmla="*/ 229 w 347"/>
                  <a:gd name="T43" fmla="*/ 15 h 358"/>
                  <a:gd name="T44" fmla="*/ 245 w 347"/>
                  <a:gd name="T45" fmla="*/ 24 h 358"/>
                  <a:gd name="T46" fmla="*/ 253 w 347"/>
                  <a:gd name="T47" fmla="*/ 37 h 358"/>
                  <a:gd name="T48" fmla="*/ 257 w 347"/>
                  <a:gd name="T49" fmla="*/ 58 h 358"/>
                  <a:gd name="T50" fmla="*/ 259 w 347"/>
                  <a:gd name="T51" fmla="*/ 77 h 358"/>
                  <a:gd name="T52" fmla="*/ 273 w 347"/>
                  <a:gd name="T53" fmla="*/ 105 h 358"/>
                  <a:gd name="T54" fmla="*/ 296 w 347"/>
                  <a:gd name="T55" fmla="*/ 126 h 358"/>
                  <a:gd name="T56" fmla="*/ 320 w 347"/>
                  <a:gd name="T57" fmla="*/ 145 h 358"/>
                  <a:gd name="T58" fmla="*/ 333 w 347"/>
                  <a:gd name="T59" fmla="*/ 154 h 358"/>
                  <a:gd name="T60" fmla="*/ 342 w 347"/>
                  <a:gd name="T61" fmla="*/ 165 h 358"/>
                  <a:gd name="T62" fmla="*/ 345 w 347"/>
                  <a:gd name="T63" fmla="*/ 184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7" h="358">
                    <a:moveTo>
                      <a:pt x="345" y="184"/>
                    </a:moveTo>
                    <a:cubicBezTo>
                      <a:pt x="342" y="191"/>
                      <a:pt x="339" y="197"/>
                      <a:pt x="334" y="203"/>
                    </a:cubicBezTo>
                    <a:cubicBezTo>
                      <a:pt x="323" y="215"/>
                      <a:pt x="309" y="224"/>
                      <a:pt x="294" y="231"/>
                    </a:cubicBezTo>
                    <a:cubicBezTo>
                      <a:pt x="269" y="244"/>
                      <a:pt x="244" y="255"/>
                      <a:pt x="220" y="270"/>
                    </a:cubicBezTo>
                    <a:cubicBezTo>
                      <a:pt x="205" y="280"/>
                      <a:pt x="191" y="292"/>
                      <a:pt x="177" y="305"/>
                    </a:cubicBezTo>
                    <a:cubicBezTo>
                      <a:pt x="166" y="316"/>
                      <a:pt x="155" y="328"/>
                      <a:pt x="142" y="337"/>
                    </a:cubicBezTo>
                    <a:cubicBezTo>
                      <a:pt x="129" y="346"/>
                      <a:pt x="114" y="353"/>
                      <a:pt x="98" y="356"/>
                    </a:cubicBezTo>
                    <a:cubicBezTo>
                      <a:pt x="78" y="358"/>
                      <a:pt x="58" y="355"/>
                      <a:pt x="41" y="347"/>
                    </a:cubicBezTo>
                    <a:cubicBezTo>
                      <a:pt x="28" y="341"/>
                      <a:pt x="16" y="334"/>
                      <a:pt x="9" y="322"/>
                    </a:cubicBezTo>
                    <a:cubicBezTo>
                      <a:pt x="1" y="310"/>
                      <a:pt x="0" y="296"/>
                      <a:pt x="0" y="282"/>
                    </a:cubicBezTo>
                    <a:cubicBezTo>
                      <a:pt x="0" y="258"/>
                      <a:pt x="4" y="234"/>
                      <a:pt x="8" y="210"/>
                    </a:cubicBezTo>
                    <a:cubicBezTo>
                      <a:pt x="12" y="190"/>
                      <a:pt x="15" y="170"/>
                      <a:pt x="18" y="150"/>
                    </a:cubicBezTo>
                    <a:cubicBezTo>
                      <a:pt x="21" y="114"/>
                      <a:pt x="21" y="77"/>
                      <a:pt x="19" y="40"/>
                    </a:cubicBezTo>
                    <a:cubicBezTo>
                      <a:pt x="18" y="34"/>
                      <a:pt x="18" y="28"/>
                      <a:pt x="19" y="22"/>
                    </a:cubicBezTo>
                    <a:cubicBezTo>
                      <a:pt x="20" y="16"/>
                      <a:pt x="22" y="10"/>
                      <a:pt x="27" y="6"/>
                    </a:cubicBezTo>
                    <a:cubicBezTo>
                      <a:pt x="31" y="2"/>
                      <a:pt x="37" y="0"/>
                      <a:pt x="43" y="0"/>
                    </a:cubicBezTo>
                    <a:cubicBezTo>
                      <a:pt x="48" y="0"/>
                      <a:pt x="54" y="0"/>
                      <a:pt x="60" y="1"/>
                    </a:cubicBezTo>
                    <a:cubicBezTo>
                      <a:pt x="73" y="3"/>
                      <a:pt x="86" y="5"/>
                      <a:pt x="99" y="8"/>
                    </a:cubicBezTo>
                    <a:cubicBezTo>
                      <a:pt x="107" y="10"/>
                      <a:pt x="115" y="13"/>
                      <a:pt x="123" y="15"/>
                    </a:cubicBezTo>
                    <a:cubicBezTo>
                      <a:pt x="137" y="19"/>
                      <a:pt x="151" y="21"/>
                      <a:pt x="165" y="19"/>
                    </a:cubicBezTo>
                    <a:cubicBezTo>
                      <a:pt x="180" y="17"/>
                      <a:pt x="195" y="12"/>
                      <a:pt x="210" y="12"/>
                    </a:cubicBezTo>
                    <a:cubicBezTo>
                      <a:pt x="216" y="12"/>
                      <a:pt x="223" y="13"/>
                      <a:pt x="229" y="15"/>
                    </a:cubicBezTo>
                    <a:cubicBezTo>
                      <a:pt x="235" y="17"/>
                      <a:pt x="241" y="20"/>
                      <a:pt x="245" y="24"/>
                    </a:cubicBezTo>
                    <a:cubicBezTo>
                      <a:pt x="248" y="28"/>
                      <a:pt x="251" y="32"/>
                      <a:pt x="253" y="37"/>
                    </a:cubicBezTo>
                    <a:cubicBezTo>
                      <a:pt x="255" y="43"/>
                      <a:pt x="257" y="51"/>
                      <a:pt x="257" y="58"/>
                    </a:cubicBezTo>
                    <a:cubicBezTo>
                      <a:pt x="258" y="64"/>
                      <a:pt x="258" y="71"/>
                      <a:pt x="259" y="77"/>
                    </a:cubicBezTo>
                    <a:cubicBezTo>
                      <a:pt x="261" y="87"/>
                      <a:pt x="266" y="96"/>
                      <a:pt x="273" y="105"/>
                    </a:cubicBezTo>
                    <a:cubicBezTo>
                      <a:pt x="280" y="113"/>
                      <a:pt x="288" y="119"/>
                      <a:pt x="296" y="126"/>
                    </a:cubicBezTo>
                    <a:cubicBezTo>
                      <a:pt x="304" y="133"/>
                      <a:pt x="312" y="140"/>
                      <a:pt x="320" y="145"/>
                    </a:cubicBezTo>
                    <a:cubicBezTo>
                      <a:pt x="324" y="148"/>
                      <a:pt x="329" y="151"/>
                      <a:pt x="333" y="154"/>
                    </a:cubicBezTo>
                    <a:cubicBezTo>
                      <a:pt x="336" y="157"/>
                      <a:pt x="340" y="160"/>
                      <a:pt x="342" y="165"/>
                    </a:cubicBezTo>
                    <a:cubicBezTo>
                      <a:pt x="346" y="171"/>
                      <a:pt x="347" y="178"/>
                      <a:pt x="345" y="18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rgbClr val="0973D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16" name="Freeform 25"/>
              <p:cNvSpPr>
                <a:spLocks/>
              </p:cNvSpPr>
              <p:nvPr/>
            </p:nvSpPr>
            <p:spPr bwMode="auto">
              <a:xfrm>
                <a:off x="3829050" y="4313238"/>
                <a:ext cx="330200" cy="936625"/>
              </a:xfrm>
              <a:custGeom>
                <a:avLst/>
                <a:gdLst>
                  <a:gd name="T0" fmla="*/ 0 w 114"/>
                  <a:gd name="T1" fmla="*/ 0 h 324"/>
                  <a:gd name="T2" fmla="*/ 6 w 114"/>
                  <a:gd name="T3" fmla="*/ 5 h 324"/>
                  <a:gd name="T4" fmla="*/ 44 w 114"/>
                  <a:gd name="T5" fmla="*/ 43 h 324"/>
                  <a:gd name="T6" fmla="*/ 99 w 114"/>
                  <a:gd name="T7" fmla="*/ 127 h 324"/>
                  <a:gd name="T8" fmla="*/ 92 w 114"/>
                  <a:gd name="T9" fmla="*/ 193 h 324"/>
                  <a:gd name="T10" fmla="*/ 59 w 114"/>
                  <a:gd name="T11" fmla="*/ 289 h 324"/>
                  <a:gd name="T12" fmla="*/ 65 w 114"/>
                  <a:gd name="T13" fmla="*/ 307 h 324"/>
                  <a:gd name="T14" fmla="*/ 65 w 114"/>
                  <a:gd name="T15" fmla="*/ 324 h 324"/>
                  <a:gd name="T16" fmla="*/ 65 w 114"/>
                  <a:gd name="T17" fmla="*/ 320 h 324"/>
                  <a:gd name="T18" fmla="*/ 77 w 114"/>
                  <a:gd name="T19" fmla="*/ 275 h 324"/>
                  <a:gd name="T20" fmla="*/ 107 w 114"/>
                  <a:gd name="T21" fmla="*/ 189 h 324"/>
                  <a:gd name="T22" fmla="*/ 109 w 114"/>
                  <a:gd name="T23" fmla="*/ 114 h 324"/>
                  <a:gd name="T24" fmla="*/ 60 w 114"/>
                  <a:gd name="T25" fmla="*/ 34 h 324"/>
                  <a:gd name="T26" fmla="*/ 0 w 114"/>
                  <a:gd name="T27" fmla="*/ 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4" h="324">
                    <a:moveTo>
                      <a:pt x="0" y="0"/>
                    </a:moveTo>
                    <a:cubicBezTo>
                      <a:pt x="2" y="1"/>
                      <a:pt x="4" y="3"/>
                      <a:pt x="6" y="5"/>
                    </a:cubicBezTo>
                    <a:cubicBezTo>
                      <a:pt x="21" y="17"/>
                      <a:pt x="29" y="31"/>
                      <a:pt x="44" y="43"/>
                    </a:cubicBezTo>
                    <a:cubicBezTo>
                      <a:pt x="69" y="63"/>
                      <a:pt x="94" y="96"/>
                      <a:pt x="99" y="127"/>
                    </a:cubicBezTo>
                    <a:cubicBezTo>
                      <a:pt x="103" y="151"/>
                      <a:pt x="98" y="164"/>
                      <a:pt x="92" y="193"/>
                    </a:cubicBezTo>
                    <a:cubicBezTo>
                      <a:pt x="86" y="221"/>
                      <a:pt x="68" y="261"/>
                      <a:pt x="59" y="289"/>
                    </a:cubicBezTo>
                    <a:cubicBezTo>
                      <a:pt x="55" y="300"/>
                      <a:pt x="66" y="295"/>
                      <a:pt x="65" y="307"/>
                    </a:cubicBezTo>
                    <a:cubicBezTo>
                      <a:pt x="64" y="312"/>
                      <a:pt x="64" y="318"/>
                      <a:pt x="65" y="324"/>
                    </a:cubicBezTo>
                    <a:cubicBezTo>
                      <a:pt x="65" y="323"/>
                      <a:pt x="65" y="322"/>
                      <a:pt x="65" y="320"/>
                    </a:cubicBezTo>
                    <a:cubicBezTo>
                      <a:pt x="67" y="305"/>
                      <a:pt x="72" y="290"/>
                      <a:pt x="77" y="275"/>
                    </a:cubicBezTo>
                    <a:cubicBezTo>
                      <a:pt x="87" y="246"/>
                      <a:pt x="99" y="218"/>
                      <a:pt x="107" y="189"/>
                    </a:cubicBezTo>
                    <a:cubicBezTo>
                      <a:pt x="114" y="160"/>
                      <a:pt x="114" y="139"/>
                      <a:pt x="109" y="114"/>
                    </a:cubicBezTo>
                    <a:cubicBezTo>
                      <a:pt x="104" y="82"/>
                      <a:pt x="86" y="53"/>
                      <a:pt x="60" y="34"/>
                    </a:cubicBezTo>
                    <a:cubicBezTo>
                      <a:pt x="41" y="20"/>
                      <a:pt x="20" y="12"/>
                      <a:pt x="0" y="0"/>
                    </a:cubicBezTo>
                    <a:close/>
                  </a:path>
                </a:pathLst>
              </a:custGeom>
              <a:solidFill>
                <a:srgbClr val="FDFDFB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24" name="Freeform 26"/>
              <p:cNvSpPr>
                <a:spLocks/>
              </p:cNvSpPr>
              <p:nvPr/>
            </p:nvSpPr>
            <p:spPr bwMode="auto">
              <a:xfrm>
                <a:off x="3938588" y="5019675"/>
                <a:ext cx="422275" cy="346075"/>
              </a:xfrm>
              <a:custGeom>
                <a:avLst/>
                <a:gdLst>
                  <a:gd name="T0" fmla="*/ 144 w 146"/>
                  <a:gd name="T1" fmla="*/ 33 h 120"/>
                  <a:gd name="T2" fmla="*/ 136 w 146"/>
                  <a:gd name="T3" fmla="*/ 21 h 120"/>
                  <a:gd name="T4" fmla="*/ 124 w 146"/>
                  <a:gd name="T5" fmla="*/ 14 h 120"/>
                  <a:gd name="T6" fmla="*/ 97 w 146"/>
                  <a:gd name="T7" fmla="*/ 7 h 120"/>
                  <a:gd name="T8" fmla="*/ 70 w 146"/>
                  <a:gd name="T9" fmla="*/ 2 h 120"/>
                  <a:gd name="T10" fmla="*/ 43 w 146"/>
                  <a:gd name="T11" fmla="*/ 2 h 120"/>
                  <a:gd name="T12" fmla="*/ 22 w 146"/>
                  <a:gd name="T13" fmla="*/ 13 h 120"/>
                  <a:gd name="T14" fmla="*/ 8 w 146"/>
                  <a:gd name="T15" fmla="*/ 32 h 120"/>
                  <a:gd name="T16" fmla="*/ 1 w 146"/>
                  <a:gd name="T17" fmla="*/ 74 h 120"/>
                  <a:gd name="T18" fmla="*/ 12 w 146"/>
                  <a:gd name="T19" fmla="*/ 103 h 120"/>
                  <a:gd name="T20" fmla="*/ 33 w 146"/>
                  <a:gd name="T21" fmla="*/ 116 h 120"/>
                  <a:gd name="T22" fmla="*/ 77 w 146"/>
                  <a:gd name="T23" fmla="*/ 116 h 120"/>
                  <a:gd name="T24" fmla="*/ 134 w 146"/>
                  <a:gd name="T25" fmla="*/ 73 h 120"/>
                  <a:gd name="T26" fmla="*/ 144 w 146"/>
                  <a:gd name="T27" fmla="*/ 51 h 120"/>
                  <a:gd name="T28" fmla="*/ 144 w 146"/>
                  <a:gd name="T29" fmla="*/ 33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6" h="120">
                    <a:moveTo>
                      <a:pt x="144" y="33"/>
                    </a:moveTo>
                    <a:cubicBezTo>
                      <a:pt x="142" y="28"/>
                      <a:pt x="139" y="25"/>
                      <a:pt x="136" y="21"/>
                    </a:cubicBezTo>
                    <a:cubicBezTo>
                      <a:pt x="132" y="18"/>
                      <a:pt x="128" y="16"/>
                      <a:pt x="124" y="14"/>
                    </a:cubicBezTo>
                    <a:cubicBezTo>
                      <a:pt x="115" y="10"/>
                      <a:pt x="106" y="9"/>
                      <a:pt x="97" y="7"/>
                    </a:cubicBezTo>
                    <a:cubicBezTo>
                      <a:pt x="88" y="6"/>
                      <a:pt x="79" y="4"/>
                      <a:pt x="70" y="2"/>
                    </a:cubicBezTo>
                    <a:cubicBezTo>
                      <a:pt x="61" y="1"/>
                      <a:pt x="52" y="0"/>
                      <a:pt x="43" y="2"/>
                    </a:cubicBezTo>
                    <a:cubicBezTo>
                      <a:pt x="35" y="3"/>
                      <a:pt x="28" y="7"/>
                      <a:pt x="22" y="13"/>
                    </a:cubicBezTo>
                    <a:cubicBezTo>
                      <a:pt x="16" y="18"/>
                      <a:pt x="11" y="25"/>
                      <a:pt x="8" y="32"/>
                    </a:cubicBezTo>
                    <a:cubicBezTo>
                      <a:pt x="2" y="45"/>
                      <a:pt x="0" y="60"/>
                      <a:pt x="1" y="74"/>
                    </a:cubicBezTo>
                    <a:cubicBezTo>
                      <a:pt x="2" y="85"/>
                      <a:pt x="5" y="95"/>
                      <a:pt x="12" y="103"/>
                    </a:cubicBezTo>
                    <a:cubicBezTo>
                      <a:pt x="17" y="110"/>
                      <a:pt x="25" y="114"/>
                      <a:pt x="33" y="116"/>
                    </a:cubicBezTo>
                    <a:cubicBezTo>
                      <a:pt x="48" y="120"/>
                      <a:pt x="63" y="120"/>
                      <a:pt x="77" y="116"/>
                    </a:cubicBezTo>
                    <a:cubicBezTo>
                      <a:pt x="100" y="108"/>
                      <a:pt x="120" y="93"/>
                      <a:pt x="134" y="73"/>
                    </a:cubicBezTo>
                    <a:cubicBezTo>
                      <a:pt x="139" y="66"/>
                      <a:pt x="143" y="59"/>
                      <a:pt x="144" y="51"/>
                    </a:cubicBezTo>
                    <a:cubicBezTo>
                      <a:pt x="146" y="45"/>
                      <a:pt x="146" y="39"/>
                      <a:pt x="144" y="33"/>
                    </a:cubicBezTo>
                    <a:close/>
                  </a:path>
                </a:pathLst>
              </a:custGeom>
              <a:solidFill>
                <a:srgbClr val="0973D1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25" name="Freeform 27"/>
              <p:cNvSpPr>
                <a:spLocks/>
              </p:cNvSpPr>
              <p:nvPr/>
            </p:nvSpPr>
            <p:spPr bwMode="auto">
              <a:xfrm>
                <a:off x="3956050" y="5005388"/>
                <a:ext cx="301625" cy="100013"/>
              </a:xfrm>
              <a:custGeom>
                <a:avLst/>
                <a:gdLst>
                  <a:gd name="T0" fmla="*/ 35 w 104"/>
                  <a:gd name="T1" fmla="*/ 3 h 35"/>
                  <a:gd name="T2" fmla="*/ 2 w 104"/>
                  <a:gd name="T3" fmla="*/ 26 h 35"/>
                  <a:gd name="T4" fmla="*/ 0 w 104"/>
                  <a:gd name="T5" fmla="*/ 35 h 35"/>
                  <a:gd name="T6" fmla="*/ 8 w 104"/>
                  <a:gd name="T7" fmla="*/ 31 h 35"/>
                  <a:gd name="T8" fmla="*/ 26 w 104"/>
                  <a:gd name="T9" fmla="*/ 20 h 35"/>
                  <a:gd name="T10" fmla="*/ 51 w 104"/>
                  <a:gd name="T11" fmla="*/ 14 h 35"/>
                  <a:gd name="T12" fmla="*/ 69 w 104"/>
                  <a:gd name="T13" fmla="*/ 13 h 35"/>
                  <a:gd name="T14" fmla="*/ 104 w 104"/>
                  <a:gd name="T15" fmla="*/ 14 h 35"/>
                  <a:gd name="T16" fmla="*/ 80 w 104"/>
                  <a:gd name="T17" fmla="*/ 6 h 35"/>
                  <a:gd name="T18" fmla="*/ 58 w 104"/>
                  <a:gd name="T19" fmla="*/ 1 h 35"/>
                  <a:gd name="T20" fmla="*/ 35 w 104"/>
                  <a:gd name="T21" fmla="*/ 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4" h="35">
                    <a:moveTo>
                      <a:pt x="35" y="3"/>
                    </a:moveTo>
                    <a:cubicBezTo>
                      <a:pt x="2" y="26"/>
                      <a:pt x="2" y="26"/>
                      <a:pt x="2" y="26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3" y="34"/>
                      <a:pt x="6" y="32"/>
                      <a:pt x="8" y="31"/>
                    </a:cubicBezTo>
                    <a:cubicBezTo>
                      <a:pt x="14" y="27"/>
                      <a:pt x="19" y="23"/>
                      <a:pt x="26" y="20"/>
                    </a:cubicBezTo>
                    <a:cubicBezTo>
                      <a:pt x="33" y="16"/>
                      <a:pt x="42" y="15"/>
                      <a:pt x="51" y="14"/>
                    </a:cubicBezTo>
                    <a:cubicBezTo>
                      <a:pt x="57" y="13"/>
                      <a:pt x="63" y="13"/>
                      <a:pt x="69" y="13"/>
                    </a:cubicBezTo>
                    <a:cubicBezTo>
                      <a:pt x="81" y="12"/>
                      <a:pt x="93" y="13"/>
                      <a:pt x="104" y="1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73" y="3"/>
                      <a:pt x="65" y="1"/>
                      <a:pt x="58" y="1"/>
                    </a:cubicBezTo>
                    <a:cubicBezTo>
                      <a:pt x="50" y="0"/>
                      <a:pt x="43" y="1"/>
                      <a:pt x="35" y="3"/>
                    </a:cubicBezTo>
                    <a:close/>
                  </a:path>
                </a:pathLst>
              </a:custGeom>
              <a:solidFill>
                <a:srgbClr val="FDFDFB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26" name="Freeform 28"/>
              <p:cNvSpPr>
                <a:spLocks/>
              </p:cNvSpPr>
              <p:nvPr/>
            </p:nvSpPr>
            <p:spPr bwMode="auto">
              <a:xfrm>
                <a:off x="2219325" y="4192588"/>
                <a:ext cx="600075" cy="1323975"/>
              </a:xfrm>
              <a:custGeom>
                <a:avLst/>
                <a:gdLst>
                  <a:gd name="T0" fmla="*/ 142 w 207"/>
                  <a:gd name="T1" fmla="*/ 0 h 458"/>
                  <a:gd name="T2" fmla="*/ 109 w 207"/>
                  <a:gd name="T3" fmla="*/ 42 h 458"/>
                  <a:gd name="T4" fmla="*/ 99 w 207"/>
                  <a:gd name="T5" fmla="*/ 49 h 458"/>
                  <a:gd name="T6" fmla="*/ 91 w 207"/>
                  <a:gd name="T7" fmla="*/ 58 h 458"/>
                  <a:gd name="T8" fmla="*/ 90 w 207"/>
                  <a:gd name="T9" fmla="*/ 60 h 458"/>
                  <a:gd name="T10" fmla="*/ 72 w 207"/>
                  <a:gd name="T11" fmla="*/ 115 h 458"/>
                  <a:gd name="T12" fmla="*/ 49 w 207"/>
                  <a:gd name="T13" fmla="*/ 176 h 458"/>
                  <a:gd name="T14" fmla="*/ 21 w 207"/>
                  <a:gd name="T15" fmla="*/ 231 h 458"/>
                  <a:gd name="T16" fmla="*/ 4 w 207"/>
                  <a:gd name="T17" fmla="*/ 271 h 458"/>
                  <a:gd name="T18" fmla="*/ 19 w 207"/>
                  <a:gd name="T19" fmla="*/ 339 h 458"/>
                  <a:gd name="T20" fmla="*/ 116 w 207"/>
                  <a:gd name="T21" fmla="*/ 430 h 458"/>
                  <a:gd name="T22" fmla="*/ 157 w 207"/>
                  <a:gd name="T23" fmla="*/ 450 h 458"/>
                  <a:gd name="T24" fmla="*/ 182 w 207"/>
                  <a:gd name="T25" fmla="*/ 458 h 458"/>
                  <a:gd name="T26" fmla="*/ 195 w 207"/>
                  <a:gd name="T27" fmla="*/ 456 h 458"/>
                  <a:gd name="T28" fmla="*/ 204 w 207"/>
                  <a:gd name="T29" fmla="*/ 447 h 458"/>
                  <a:gd name="T30" fmla="*/ 207 w 207"/>
                  <a:gd name="T31" fmla="*/ 434 h 458"/>
                  <a:gd name="T32" fmla="*/ 202 w 207"/>
                  <a:gd name="T33" fmla="*/ 422 h 458"/>
                  <a:gd name="T34" fmla="*/ 190 w 207"/>
                  <a:gd name="T35" fmla="*/ 409 h 458"/>
                  <a:gd name="T36" fmla="*/ 175 w 207"/>
                  <a:gd name="T37" fmla="*/ 398 h 458"/>
                  <a:gd name="T38" fmla="*/ 109 w 207"/>
                  <a:gd name="T39" fmla="*/ 321 h 458"/>
                  <a:gd name="T40" fmla="*/ 90 w 207"/>
                  <a:gd name="T41" fmla="*/ 295 h 458"/>
                  <a:gd name="T42" fmla="*/ 77 w 207"/>
                  <a:gd name="T43" fmla="*/ 263 h 458"/>
                  <a:gd name="T44" fmla="*/ 82 w 207"/>
                  <a:gd name="T45" fmla="*/ 177 h 458"/>
                  <a:gd name="T46" fmla="*/ 97 w 207"/>
                  <a:gd name="T47" fmla="*/ 142 h 458"/>
                  <a:gd name="T48" fmla="*/ 123 w 207"/>
                  <a:gd name="T49" fmla="*/ 71 h 458"/>
                  <a:gd name="T50" fmla="*/ 130 w 207"/>
                  <a:gd name="T51" fmla="*/ 50 h 458"/>
                  <a:gd name="T52" fmla="*/ 142 w 207"/>
                  <a:gd name="T53" fmla="*/ 0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7" h="458">
                    <a:moveTo>
                      <a:pt x="142" y="0"/>
                    </a:moveTo>
                    <a:cubicBezTo>
                      <a:pt x="135" y="16"/>
                      <a:pt x="123" y="31"/>
                      <a:pt x="109" y="42"/>
                    </a:cubicBezTo>
                    <a:cubicBezTo>
                      <a:pt x="105" y="44"/>
                      <a:pt x="102" y="46"/>
                      <a:pt x="99" y="49"/>
                    </a:cubicBezTo>
                    <a:cubicBezTo>
                      <a:pt x="95" y="51"/>
                      <a:pt x="93" y="54"/>
                      <a:pt x="91" y="58"/>
                    </a:cubicBezTo>
                    <a:cubicBezTo>
                      <a:pt x="90" y="58"/>
                      <a:pt x="90" y="59"/>
                      <a:pt x="90" y="60"/>
                    </a:cubicBezTo>
                    <a:cubicBezTo>
                      <a:pt x="81" y="77"/>
                      <a:pt x="78" y="96"/>
                      <a:pt x="72" y="115"/>
                    </a:cubicBezTo>
                    <a:cubicBezTo>
                      <a:pt x="66" y="136"/>
                      <a:pt x="58" y="157"/>
                      <a:pt x="49" y="176"/>
                    </a:cubicBezTo>
                    <a:cubicBezTo>
                      <a:pt x="40" y="195"/>
                      <a:pt x="30" y="213"/>
                      <a:pt x="21" y="231"/>
                    </a:cubicBezTo>
                    <a:cubicBezTo>
                      <a:pt x="14" y="244"/>
                      <a:pt x="7" y="257"/>
                      <a:pt x="4" y="271"/>
                    </a:cubicBezTo>
                    <a:cubicBezTo>
                      <a:pt x="0" y="295"/>
                      <a:pt x="8" y="318"/>
                      <a:pt x="19" y="339"/>
                    </a:cubicBezTo>
                    <a:cubicBezTo>
                      <a:pt x="42" y="378"/>
                      <a:pt x="77" y="408"/>
                      <a:pt x="116" y="430"/>
                    </a:cubicBezTo>
                    <a:cubicBezTo>
                      <a:pt x="130" y="437"/>
                      <a:pt x="143" y="444"/>
                      <a:pt x="157" y="450"/>
                    </a:cubicBezTo>
                    <a:cubicBezTo>
                      <a:pt x="165" y="454"/>
                      <a:pt x="173" y="457"/>
                      <a:pt x="182" y="458"/>
                    </a:cubicBezTo>
                    <a:cubicBezTo>
                      <a:pt x="186" y="458"/>
                      <a:pt x="191" y="457"/>
                      <a:pt x="195" y="456"/>
                    </a:cubicBezTo>
                    <a:cubicBezTo>
                      <a:pt x="199" y="454"/>
                      <a:pt x="202" y="451"/>
                      <a:pt x="204" y="447"/>
                    </a:cubicBezTo>
                    <a:cubicBezTo>
                      <a:pt x="207" y="443"/>
                      <a:pt x="207" y="439"/>
                      <a:pt x="207" y="434"/>
                    </a:cubicBezTo>
                    <a:cubicBezTo>
                      <a:pt x="206" y="430"/>
                      <a:pt x="205" y="425"/>
                      <a:pt x="202" y="422"/>
                    </a:cubicBezTo>
                    <a:cubicBezTo>
                      <a:pt x="199" y="416"/>
                      <a:pt x="194" y="412"/>
                      <a:pt x="190" y="409"/>
                    </a:cubicBezTo>
                    <a:cubicBezTo>
                      <a:pt x="185" y="405"/>
                      <a:pt x="180" y="402"/>
                      <a:pt x="175" y="398"/>
                    </a:cubicBezTo>
                    <a:cubicBezTo>
                      <a:pt x="147" y="378"/>
                      <a:pt x="129" y="349"/>
                      <a:pt x="109" y="321"/>
                    </a:cubicBezTo>
                    <a:cubicBezTo>
                      <a:pt x="102" y="313"/>
                      <a:pt x="96" y="304"/>
                      <a:pt x="90" y="295"/>
                    </a:cubicBezTo>
                    <a:cubicBezTo>
                      <a:pt x="84" y="285"/>
                      <a:pt x="80" y="274"/>
                      <a:pt x="77" y="263"/>
                    </a:cubicBezTo>
                    <a:cubicBezTo>
                      <a:pt x="69" y="235"/>
                      <a:pt x="72" y="204"/>
                      <a:pt x="82" y="177"/>
                    </a:cubicBezTo>
                    <a:cubicBezTo>
                      <a:pt x="86" y="165"/>
                      <a:pt x="92" y="154"/>
                      <a:pt x="97" y="142"/>
                    </a:cubicBezTo>
                    <a:cubicBezTo>
                      <a:pt x="107" y="119"/>
                      <a:pt x="115" y="95"/>
                      <a:pt x="123" y="71"/>
                    </a:cubicBezTo>
                    <a:cubicBezTo>
                      <a:pt x="125" y="64"/>
                      <a:pt x="128" y="57"/>
                      <a:pt x="130" y="50"/>
                    </a:cubicBezTo>
                    <a:cubicBezTo>
                      <a:pt x="135" y="33"/>
                      <a:pt x="139" y="17"/>
                      <a:pt x="142" y="0"/>
                    </a:cubicBezTo>
                    <a:close/>
                  </a:path>
                </a:pathLst>
              </a:custGeom>
              <a:solidFill>
                <a:srgbClr val="FDFDFB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27" name="Freeform 29"/>
              <p:cNvSpPr>
                <a:spLocks/>
              </p:cNvSpPr>
              <p:nvPr/>
            </p:nvSpPr>
            <p:spPr bwMode="auto">
              <a:xfrm>
                <a:off x="2201863" y="3946525"/>
                <a:ext cx="709613" cy="1662113"/>
              </a:xfrm>
              <a:custGeom>
                <a:avLst/>
                <a:gdLst>
                  <a:gd name="T0" fmla="*/ 193 w 245"/>
                  <a:gd name="T1" fmla="*/ 0 h 575"/>
                  <a:gd name="T2" fmla="*/ 160 w 245"/>
                  <a:gd name="T3" fmla="*/ 42 h 575"/>
                  <a:gd name="T4" fmla="*/ 125 w 245"/>
                  <a:gd name="T5" fmla="*/ 85 h 575"/>
                  <a:gd name="T6" fmla="*/ 88 w 245"/>
                  <a:gd name="T7" fmla="*/ 141 h 575"/>
                  <a:gd name="T8" fmla="*/ 70 w 245"/>
                  <a:gd name="T9" fmla="*/ 196 h 575"/>
                  <a:gd name="T10" fmla="*/ 47 w 245"/>
                  <a:gd name="T11" fmla="*/ 257 h 575"/>
                  <a:gd name="T12" fmla="*/ 19 w 245"/>
                  <a:gd name="T13" fmla="*/ 312 h 575"/>
                  <a:gd name="T14" fmla="*/ 2 w 245"/>
                  <a:gd name="T15" fmla="*/ 352 h 575"/>
                  <a:gd name="T16" fmla="*/ 5 w 245"/>
                  <a:gd name="T17" fmla="*/ 387 h 575"/>
                  <a:gd name="T18" fmla="*/ 17 w 245"/>
                  <a:gd name="T19" fmla="*/ 420 h 575"/>
                  <a:gd name="T20" fmla="*/ 114 w 245"/>
                  <a:gd name="T21" fmla="*/ 531 h 575"/>
                  <a:gd name="T22" fmla="*/ 173 w 245"/>
                  <a:gd name="T23" fmla="*/ 565 h 575"/>
                  <a:gd name="T24" fmla="*/ 208 w 245"/>
                  <a:gd name="T25" fmla="*/ 575 h 575"/>
                  <a:gd name="T26" fmla="*/ 226 w 245"/>
                  <a:gd name="T27" fmla="*/ 572 h 575"/>
                  <a:gd name="T28" fmla="*/ 240 w 245"/>
                  <a:gd name="T29" fmla="*/ 560 h 575"/>
                  <a:gd name="T30" fmla="*/ 244 w 245"/>
                  <a:gd name="T31" fmla="*/ 539 h 575"/>
                  <a:gd name="T32" fmla="*/ 237 w 245"/>
                  <a:gd name="T33" fmla="*/ 518 h 575"/>
                  <a:gd name="T34" fmla="*/ 198 w 245"/>
                  <a:gd name="T35" fmla="*/ 479 h 575"/>
                  <a:gd name="T36" fmla="*/ 107 w 245"/>
                  <a:gd name="T37" fmla="*/ 402 h 575"/>
                  <a:gd name="T38" fmla="*/ 85 w 245"/>
                  <a:gd name="T39" fmla="*/ 377 h 575"/>
                  <a:gd name="T40" fmla="*/ 74 w 245"/>
                  <a:gd name="T41" fmla="*/ 346 h 575"/>
                  <a:gd name="T42" fmla="*/ 80 w 245"/>
                  <a:gd name="T43" fmla="*/ 258 h 575"/>
                  <a:gd name="T44" fmla="*/ 94 w 245"/>
                  <a:gd name="T45" fmla="*/ 226 h 575"/>
                  <a:gd name="T46" fmla="*/ 122 w 245"/>
                  <a:gd name="T47" fmla="*/ 172 h 575"/>
                  <a:gd name="T48" fmla="*/ 167 w 245"/>
                  <a:gd name="T49" fmla="*/ 111 h 575"/>
                  <a:gd name="T50" fmla="*/ 184 w 245"/>
                  <a:gd name="T51" fmla="*/ 50 h 575"/>
                  <a:gd name="T52" fmla="*/ 193 w 245"/>
                  <a:gd name="T53" fmla="*/ 0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45" h="575">
                    <a:moveTo>
                      <a:pt x="193" y="0"/>
                    </a:moveTo>
                    <a:cubicBezTo>
                      <a:pt x="182" y="14"/>
                      <a:pt x="171" y="28"/>
                      <a:pt x="160" y="42"/>
                    </a:cubicBezTo>
                    <a:cubicBezTo>
                      <a:pt x="148" y="56"/>
                      <a:pt x="137" y="71"/>
                      <a:pt x="125" y="85"/>
                    </a:cubicBezTo>
                    <a:cubicBezTo>
                      <a:pt x="111" y="103"/>
                      <a:pt x="97" y="120"/>
                      <a:pt x="88" y="141"/>
                    </a:cubicBezTo>
                    <a:cubicBezTo>
                      <a:pt x="80" y="158"/>
                      <a:pt x="76" y="178"/>
                      <a:pt x="70" y="196"/>
                    </a:cubicBezTo>
                    <a:cubicBezTo>
                      <a:pt x="64" y="217"/>
                      <a:pt x="56" y="238"/>
                      <a:pt x="47" y="257"/>
                    </a:cubicBezTo>
                    <a:cubicBezTo>
                      <a:pt x="38" y="276"/>
                      <a:pt x="28" y="294"/>
                      <a:pt x="19" y="312"/>
                    </a:cubicBezTo>
                    <a:cubicBezTo>
                      <a:pt x="12" y="325"/>
                      <a:pt x="5" y="338"/>
                      <a:pt x="2" y="352"/>
                    </a:cubicBezTo>
                    <a:cubicBezTo>
                      <a:pt x="0" y="364"/>
                      <a:pt x="2" y="376"/>
                      <a:pt x="5" y="387"/>
                    </a:cubicBezTo>
                    <a:cubicBezTo>
                      <a:pt x="7" y="398"/>
                      <a:pt x="12" y="409"/>
                      <a:pt x="17" y="420"/>
                    </a:cubicBezTo>
                    <a:cubicBezTo>
                      <a:pt x="40" y="464"/>
                      <a:pt x="74" y="502"/>
                      <a:pt x="114" y="531"/>
                    </a:cubicBezTo>
                    <a:cubicBezTo>
                      <a:pt x="133" y="545"/>
                      <a:pt x="152" y="556"/>
                      <a:pt x="173" y="565"/>
                    </a:cubicBezTo>
                    <a:cubicBezTo>
                      <a:pt x="184" y="570"/>
                      <a:pt x="196" y="575"/>
                      <a:pt x="208" y="575"/>
                    </a:cubicBezTo>
                    <a:cubicBezTo>
                      <a:pt x="214" y="575"/>
                      <a:pt x="220" y="574"/>
                      <a:pt x="226" y="572"/>
                    </a:cubicBezTo>
                    <a:cubicBezTo>
                      <a:pt x="231" y="569"/>
                      <a:pt x="236" y="565"/>
                      <a:pt x="240" y="560"/>
                    </a:cubicBezTo>
                    <a:cubicBezTo>
                      <a:pt x="244" y="554"/>
                      <a:pt x="245" y="546"/>
                      <a:pt x="244" y="539"/>
                    </a:cubicBezTo>
                    <a:cubicBezTo>
                      <a:pt x="244" y="531"/>
                      <a:pt x="241" y="524"/>
                      <a:pt x="237" y="518"/>
                    </a:cubicBezTo>
                    <a:cubicBezTo>
                      <a:pt x="227" y="502"/>
                      <a:pt x="212" y="491"/>
                      <a:pt x="198" y="479"/>
                    </a:cubicBezTo>
                    <a:cubicBezTo>
                      <a:pt x="166" y="455"/>
                      <a:pt x="136" y="429"/>
                      <a:pt x="107" y="402"/>
                    </a:cubicBezTo>
                    <a:cubicBezTo>
                      <a:pt x="99" y="395"/>
                      <a:pt x="90" y="387"/>
                      <a:pt x="85" y="377"/>
                    </a:cubicBezTo>
                    <a:cubicBezTo>
                      <a:pt x="79" y="368"/>
                      <a:pt x="76" y="357"/>
                      <a:pt x="74" y="346"/>
                    </a:cubicBezTo>
                    <a:cubicBezTo>
                      <a:pt x="68" y="317"/>
                      <a:pt x="70" y="286"/>
                      <a:pt x="80" y="258"/>
                    </a:cubicBezTo>
                    <a:cubicBezTo>
                      <a:pt x="84" y="247"/>
                      <a:pt x="89" y="236"/>
                      <a:pt x="94" y="226"/>
                    </a:cubicBezTo>
                    <a:cubicBezTo>
                      <a:pt x="103" y="207"/>
                      <a:pt x="111" y="189"/>
                      <a:pt x="122" y="172"/>
                    </a:cubicBezTo>
                    <a:cubicBezTo>
                      <a:pt x="136" y="151"/>
                      <a:pt x="155" y="133"/>
                      <a:pt x="167" y="111"/>
                    </a:cubicBezTo>
                    <a:cubicBezTo>
                      <a:pt x="177" y="92"/>
                      <a:pt x="180" y="71"/>
                      <a:pt x="184" y="50"/>
                    </a:cubicBezTo>
                    <a:cubicBezTo>
                      <a:pt x="187" y="33"/>
                      <a:pt x="190" y="17"/>
                      <a:pt x="193" y="0"/>
                    </a:cubicBezTo>
                    <a:close/>
                  </a:path>
                </a:pathLst>
              </a:custGeom>
              <a:solidFill>
                <a:srgbClr val="0973D1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28" name="Freeform 30"/>
              <p:cNvSpPr>
                <a:spLocks/>
              </p:cNvSpPr>
              <p:nvPr/>
            </p:nvSpPr>
            <p:spPr bwMode="auto">
              <a:xfrm>
                <a:off x="1817688" y="5054600"/>
                <a:ext cx="1111250" cy="1095375"/>
              </a:xfrm>
              <a:custGeom>
                <a:avLst/>
                <a:gdLst>
                  <a:gd name="T0" fmla="*/ 162 w 384"/>
                  <a:gd name="T1" fmla="*/ 4 h 379"/>
                  <a:gd name="T2" fmla="*/ 183 w 384"/>
                  <a:gd name="T3" fmla="*/ 2 h 379"/>
                  <a:gd name="T4" fmla="*/ 202 w 384"/>
                  <a:gd name="T5" fmla="*/ 10 h 379"/>
                  <a:gd name="T6" fmla="*/ 230 w 384"/>
                  <a:gd name="T7" fmla="*/ 40 h 379"/>
                  <a:gd name="T8" fmla="*/ 283 w 384"/>
                  <a:gd name="T9" fmla="*/ 119 h 379"/>
                  <a:gd name="T10" fmla="*/ 323 w 384"/>
                  <a:gd name="T11" fmla="*/ 185 h 379"/>
                  <a:gd name="T12" fmla="*/ 355 w 384"/>
                  <a:gd name="T13" fmla="*/ 225 h 379"/>
                  <a:gd name="T14" fmla="*/ 378 w 384"/>
                  <a:gd name="T15" fmla="*/ 269 h 379"/>
                  <a:gd name="T16" fmla="*/ 372 w 384"/>
                  <a:gd name="T17" fmla="*/ 333 h 379"/>
                  <a:gd name="T18" fmla="*/ 340 w 384"/>
                  <a:gd name="T19" fmla="*/ 367 h 379"/>
                  <a:gd name="T20" fmla="*/ 296 w 384"/>
                  <a:gd name="T21" fmla="*/ 378 h 379"/>
                  <a:gd name="T22" fmla="*/ 227 w 384"/>
                  <a:gd name="T23" fmla="*/ 356 h 379"/>
                  <a:gd name="T24" fmla="*/ 82 w 384"/>
                  <a:gd name="T25" fmla="*/ 317 h 379"/>
                  <a:gd name="T26" fmla="*/ 39 w 384"/>
                  <a:gd name="T27" fmla="*/ 304 h 379"/>
                  <a:gd name="T28" fmla="*/ 19 w 384"/>
                  <a:gd name="T29" fmla="*/ 297 h 379"/>
                  <a:gd name="T30" fmla="*/ 4 w 384"/>
                  <a:gd name="T31" fmla="*/ 285 h 379"/>
                  <a:gd name="T32" fmla="*/ 0 w 384"/>
                  <a:gd name="T33" fmla="*/ 269 h 379"/>
                  <a:gd name="T34" fmla="*/ 3 w 384"/>
                  <a:gd name="T35" fmla="*/ 254 h 379"/>
                  <a:gd name="T36" fmla="*/ 16 w 384"/>
                  <a:gd name="T37" fmla="*/ 225 h 379"/>
                  <a:gd name="T38" fmla="*/ 23 w 384"/>
                  <a:gd name="T39" fmla="*/ 175 h 379"/>
                  <a:gd name="T40" fmla="*/ 18 w 384"/>
                  <a:gd name="T41" fmla="*/ 123 h 379"/>
                  <a:gd name="T42" fmla="*/ 19 w 384"/>
                  <a:gd name="T43" fmla="*/ 100 h 379"/>
                  <a:gd name="T44" fmla="*/ 29 w 384"/>
                  <a:gd name="T45" fmla="*/ 80 h 379"/>
                  <a:gd name="T46" fmla="*/ 48 w 384"/>
                  <a:gd name="T47" fmla="*/ 71 h 379"/>
                  <a:gd name="T48" fmla="*/ 69 w 384"/>
                  <a:gd name="T49" fmla="*/ 70 h 379"/>
                  <a:gd name="T50" fmla="*/ 90 w 384"/>
                  <a:gd name="T51" fmla="*/ 69 h 379"/>
                  <a:gd name="T52" fmla="*/ 111 w 384"/>
                  <a:gd name="T53" fmla="*/ 64 h 379"/>
                  <a:gd name="T54" fmla="*/ 125 w 384"/>
                  <a:gd name="T55" fmla="*/ 50 h 379"/>
                  <a:gd name="T56" fmla="*/ 136 w 384"/>
                  <a:gd name="T57" fmla="*/ 33 h 379"/>
                  <a:gd name="T58" fmla="*/ 147 w 384"/>
                  <a:gd name="T59" fmla="*/ 16 h 379"/>
                  <a:gd name="T60" fmla="*/ 162 w 384"/>
                  <a:gd name="T61" fmla="*/ 4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84" h="379">
                    <a:moveTo>
                      <a:pt x="162" y="4"/>
                    </a:moveTo>
                    <a:cubicBezTo>
                      <a:pt x="169" y="1"/>
                      <a:pt x="176" y="0"/>
                      <a:pt x="183" y="2"/>
                    </a:cubicBezTo>
                    <a:cubicBezTo>
                      <a:pt x="190" y="3"/>
                      <a:pt x="196" y="6"/>
                      <a:pt x="202" y="10"/>
                    </a:cubicBezTo>
                    <a:cubicBezTo>
                      <a:pt x="213" y="18"/>
                      <a:pt x="222" y="29"/>
                      <a:pt x="230" y="40"/>
                    </a:cubicBezTo>
                    <a:cubicBezTo>
                      <a:pt x="248" y="66"/>
                      <a:pt x="266" y="92"/>
                      <a:pt x="283" y="119"/>
                    </a:cubicBezTo>
                    <a:cubicBezTo>
                      <a:pt x="296" y="142"/>
                      <a:pt x="308" y="165"/>
                      <a:pt x="323" y="185"/>
                    </a:cubicBezTo>
                    <a:cubicBezTo>
                      <a:pt x="333" y="199"/>
                      <a:pt x="345" y="211"/>
                      <a:pt x="355" y="225"/>
                    </a:cubicBezTo>
                    <a:cubicBezTo>
                      <a:pt x="365" y="239"/>
                      <a:pt x="374" y="253"/>
                      <a:pt x="378" y="269"/>
                    </a:cubicBezTo>
                    <a:cubicBezTo>
                      <a:pt x="384" y="291"/>
                      <a:pt x="382" y="314"/>
                      <a:pt x="372" y="333"/>
                    </a:cubicBezTo>
                    <a:cubicBezTo>
                      <a:pt x="364" y="347"/>
                      <a:pt x="354" y="359"/>
                      <a:pt x="340" y="367"/>
                    </a:cubicBezTo>
                    <a:cubicBezTo>
                      <a:pt x="327" y="375"/>
                      <a:pt x="312" y="379"/>
                      <a:pt x="296" y="378"/>
                    </a:cubicBezTo>
                    <a:cubicBezTo>
                      <a:pt x="272" y="377"/>
                      <a:pt x="250" y="365"/>
                      <a:pt x="227" y="356"/>
                    </a:cubicBezTo>
                    <a:cubicBezTo>
                      <a:pt x="180" y="337"/>
                      <a:pt x="130" y="332"/>
                      <a:pt x="82" y="317"/>
                    </a:cubicBezTo>
                    <a:cubicBezTo>
                      <a:pt x="68" y="313"/>
                      <a:pt x="53" y="308"/>
                      <a:pt x="39" y="304"/>
                    </a:cubicBezTo>
                    <a:cubicBezTo>
                      <a:pt x="32" y="302"/>
                      <a:pt x="25" y="300"/>
                      <a:pt x="19" y="297"/>
                    </a:cubicBezTo>
                    <a:cubicBezTo>
                      <a:pt x="13" y="295"/>
                      <a:pt x="7" y="290"/>
                      <a:pt x="4" y="285"/>
                    </a:cubicBezTo>
                    <a:cubicBezTo>
                      <a:pt x="1" y="280"/>
                      <a:pt x="0" y="275"/>
                      <a:pt x="0" y="269"/>
                    </a:cubicBezTo>
                    <a:cubicBezTo>
                      <a:pt x="0" y="264"/>
                      <a:pt x="1" y="259"/>
                      <a:pt x="3" y="254"/>
                    </a:cubicBezTo>
                    <a:cubicBezTo>
                      <a:pt x="7" y="244"/>
                      <a:pt x="12" y="235"/>
                      <a:pt x="16" y="225"/>
                    </a:cubicBezTo>
                    <a:cubicBezTo>
                      <a:pt x="23" y="209"/>
                      <a:pt x="24" y="192"/>
                      <a:pt x="23" y="175"/>
                    </a:cubicBezTo>
                    <a:cubicBezTo>
                      <a:pt x="22" y="157"/>
                      <a:pt x="19" y="140"/>
                      <a:pt x="18" y="123"/>
                    </a:cubicBezTo>
                    <a:cubicBezTo>
                      <a:pt x="18" y="116"/>
                      <a:pt x="17" y="108"/>
                      <a:pt x="19" y="100"/>
                    </a:cubicBezTo>
                    <a:cubicBezTo>
                      <a:pt x="20" y="93"/>
                      <a:pt x="24" y="85"/>
                      <a:pt x="29" y="80"/>
                    </a:cubicBezTo>
                    <a:cubicBezTo>
                      <a:pt x="34" y="75"/>
                      <a:pt x="41" y="72"/>
                      <a:pt x="48" y="71"/>
                    </a:cubicBezTo>
                    <a:cubicBezTo>
                      <a:pt x="55" y="69"/>
                      <a:pt x="62" y="69"/>
                      <a:pt x="69" y="70"/>
                    </a:cubicBezTo>
                    <a:cubicBezTo>
                      <a:pt x="76" y="70"/>
                      <a:pt x="83" y="70"/>
                      <a:pt x="90" y="69"/>
                    </a:cubicBezTo>
                    <a:cubicBezTo>
                      <a:pt x="97" y="69"/>
                      <a:pt x="104" y="67"/>
                      <a:pt x="111" y="64"/>
                    </a:cubicBezTo>
                    <a:cubicBezTo>
                      <a:pt x="116" y="60"/>
                      <a:pt x="121" y="55"/>
                      <a:pt x="125" y="50"/>
                    </a:cubicBezTo>
                    <a:cubicBezTo>
                      <a:pt x="129" y="45"/>
                      <a:pt x="132" y="39"/>
                      <a:pt x="136" y="33"/>
                    </a:cubicBezTo>
                    <a:cubicBezTo>
                      <a:pt x="139" y="27"/>
                      <a:pt x="142" y="21"/>
                      <a:pt x="147" y="16"/>
                    </a:cubicBezTo>
                    <a:cubicBezTo>
                      <a:pt x="151" y="11"/>
                      <a:pt x="156" y="6"/>
                      <a:pt x="162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rgbClr val="0973D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29" name="Freeform 31"/>
              <p:cNvSpPr>
                <a:spLocks/>
              </p:cNvSpPr>
              <p:nvPr/>
            </p:nvSpPr>
            <p:spPr bwMode="auto">
              <a:xfrm>
                <a:off x="3298825" y="3324225"/>
                <a:ext cx="188913" cy="225425"/>
              </a:xfrm>
              <a:custGeom>
                <a:avLst/>
                <a:gdLst>
                  <a:gd name="T0" fmla="*/ 29 w 65"/>
                  <a:gd name="T1" fmla="*/ 1 h 78"/>
                  <a:gd name="T2" fmla="*/ 17 w 65"/>
                  <a:gd name="T3" fmla="*/ 5 h 78"/>
                  <a:gd name="T4" fmla="*/ 8 w 65"/>
                  <a:gd name="T5" fmla="*/ 13 h 78"/>
                  <a:gd name="T6" fmla="*/ 1 w 65"/>
                  <a:gd name="T7" fmla="*/ 37 h 78"/>
                  <a:gd name="T8" fmla="*/ 3 w 65"/>
                  <a:gd name="T9" fmla="*/ 56 h 78"/>
                  <a:gd name="T10" fmla="*/ 14 w 65"/>
                  <a:gd name="T11" fmla="*/ 71 h 78"/>
                  <a:gd name="T12" fmla="*/ 31 w 65"/>
                  <a:gd name="T13" fmla="*/ 78 h 78"/>
                  <a:gd name="T14" fmla="*/ 50 w 65"/>
                  <a:gd name="T15" fmla="*/ 73 h 78"/>
                  <a:gd name="T16" fmla="*/ 60 w 65"/>
                  <a:gd name="T17" fmla="*/ 61 h 78"/>
                  <a:gd name="T18" fmla="*/ 64 w 65"/>
                  <a:gd name="T19" fmla="*/ 47 h 78"/>
                  <a:gd name="T20" fmla="*/ 60 w 65"/>
                  <a:gd name="T21" fmla="*/ 20 h 78"/>
                  <a:gd name="T22" fmla="*/ 40 w 65"/>
                  <a:gd name="T23" fmla="*/ 2 h 78"/>
                  <a:gd name="T24" fmla="*/ 29 w 65"/>
                  <a:gd name="T25" fmla="*/ 1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78">
                    <a:moveTo>
                      <a:pt x="29" y="1"/>
                    </a:moveTo>
                    <a:cubicBezTo>
                      <a:pt x="24" y="1"/>
                      <a:pt x="20" y="2"/>
                      <a:pt x="17" y="5"/>
                    </a:cubicBezTo>
                    <a:cubicBezTo>
                      <a:pt x="13" y="7"/>
                      <a:pt x="10" y="10"/>
                      <a:pt x="8" y="13"/>
                    </a:cubicBezTo>
                    <a:cubicBezTo>
                      <a:pt x="3" y="20"/>
                      <a:pt x="1" y="29"/>
                      <a:pt x="1" y="37"/>
                    </a:cubicBezTo>
                    <a:cubicBezTo>
                      <a:pt x="0" y="43"/>
                      <a:pt x="1" y="50"/>
                      <a:pt x="3" y="56"/>
                    </a:cubicBezTo>
                    <a:cubicBezTo>
                      <a:pt x="5" y="62"/>
                      <a:pt x="9" y="67"/>
                      <a:pt x="14" y="71"/>
                    </a:cubicBezTo>
                    <a:cubicBezTo>
                      <a:pt x="19" y="75"/>
                      <a:pt x="25" y="78"/>
                      <a:pt x="31" y="78"/>
                    </a:cubicBezTo>
                    <a:cubicBezTo>
                      <a:pt x="38" y="78"/>
                      <a:pt x="44" y="76"/>
                      <a:pt x="50" y="73"/>
                    </a:cubicBezTo>
                    <a:cubicBezTo>
                      <a:pt x="54" y="70"/>
                      <a:pt x="57" y="66"/>
                      <a:pt x="60" y="61"/>
                    </a:cubicBezTo>
                    <a:cubicBezTo>
                      <a:pt x="62" y="57"/>
                      <a:pt x="64" y="52"/>
                      <a:pt x="64" y="47"/>
                    </a:cubicBezTo>
                    <a:cubicBezTo>
                      <a:pt x="65" y="38"/>
                      <a:pt x="64" y="28"/>
                      <a:pt x="60" y="20"/>
                    </a:cubicBezTo>
                    <a:cubicBezTo>
                      <a:pt x="56" y="12"/>
                      <a:pt x="49" y="5"/>
                      <a:pt x="40" y="2"/>
                    </a:cubicBezTo>
                    <a:cubicBezTo>
                      <a:pt x="37" y="1"/>
                      <a:pt x="33" y="0"/>
                      <a:pt x="29" y="1"/>
                    </a:cubicBezTo>
                    <a:close/>
                  </a:path>
                </a:pathLst>
              </a:custGeom>
              <a:solidFill>
                <a:srgbClr val="0973D1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30" name="Freeform 32"/>
              <p:cNvSpPr>
                <a:spLocks/>
              </p:cNvSpPr>
              <p:nvPr/>
            </p:nvSpPr>
            <p:spPr bwMode="auto">
              <a:xfrm>
                <a:off x="3386138" y="3354388"/>
                <a:ext cx="77788" cy="82550"/>
              </a:xfrm>
              <a:custGeom>
                <a:avLst/>
                <a:gdLst>
                  <a:gd name="T0" fmla="*/ 2 w 27"/>
                  <a:gd name="T1" fmla="*/ 8 h 29"/>
                  <a:gd name="T2" fmla="*/ 9 w 27"/>
                  <a:gd name="T3" fmla="*/ 11 h 29"/>
                  <a:gd name="T4" fmla="*/ 14 w 27"/>
                  <a:gd name="T5" fmla="*/ 15 h 29"/>
                  <a:gd name="T6" fmla="*/ 20 w 27"/>
                  <a:gd name="T7" fmla="*/ 28 h 29"/>
                  <a:gd name="T8" fmla="*/ 24 w 27"/>
                  <a:gd name="T9" fmla="*/ 27 h 29"/>
                  <a:gd name="T10" fmla="*/ 20 w 27"/>
                  <a:gd name="T11" fmla="*/ 9 h 29"/>
                  <a:gd name="T12" fmla="*/ 8 w 27"/>
                  <a:gd name="T13" fmla="*/ 1 h 29"/>
                  <a:gd name="T14" fmla="*/ 1 w 27"/>
                  <a:gd name="T15" fmla="*/ 3 h 29"/>
                  <a:gd name="T16" fmla="*/ 2 w 27"/>
                  <a:gd name="T17" fmla="*/ 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29">
                    <a:moveTo>
                      <a:pt x="2" y="8"/>
                    </a:moveTo>
                    <a:cubicBezTo>
                      <a:pt x="4" y="10"/>
                      <a:pt x="7" y="9"/>
                      <a:pt x="9" y="11"/>
                    </a:cubicBezTo>
                    <a:cubicBezTo>
                      <a:pt x="11" y="12"/>
                      <a:pt x="13" y="13"/>
                      <a:pt x="14" y="15"/>
                    </a:cubicBezTo>
                    <a:cubicBezTo>
                      <a:pt x="17" y="19"/>
                      <a:pt x="16" y="26"/>
                      <a:pt x="20" y="28"/>
                    </a:cubicBezTo>
                    <a:cubicBezTo>
                      <a:pt x="22" y="29"/>
                      <a:pt x="24" y="28"/>
                      <a:pt x="24" y="27"/>
                    </a:cubicBezTo>
                    <a:cubicBezTo>
                      <a:pt x="27" y="21"/>
                      <a:pt x="23" y="14"/>
                      <a:pt x="20" y="9"/>
                    </a:cubicBezTo>
                    <a:cubicBezTo>
                      <a:pt x="17" y="5"/>
                      <a:pt x="12" y="1"/>
                      <a:pt x="8" y="1"/>
                    </a:cubicBezTo>
                    <a:cubicBezTo>
                      <a:pt x="5" y="0"/>
                      <a:pt x="2" y="1"/>
                      <a:pt x="1" y="3"/>
                    </a:cubicBezTo>
                    <a:cubicBezTo>
                      <a:pt x="0" y="4"/>
                      <a:pt x="1" y="6"/>
                      <a:pt x="2" y="8"/>
                    </a:cubicBezTo>
                    <a:close/>
                  </a:path>
                </a:pathLst>
              </a:custGeom>
              <a:solidFill>
                <a:srgbClr val="FEFEFC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31" name="Freeform 33"/>
              <p:cNvSpPr>
                <a:spLocks/>
              </p:cNvSpPr>
              <p:nvPr/>
            </p:nvSpPr>
            <p:spPr bwMode="auto">
              <a:xfrm>
                <a:off x="2887663" y="3336925"/>
                <a:ext cx="146050" cy="212725"/>
              </a:xfrm>
              <a:custGeom>
                <a:avLst/>
                <a:gdLst>
                  <a:gd name="T0" fmla="*/ 2 w 50"/>
                  <a:gd name="T1" fmla="*/ 22 h 74"/>
                  <a:gd name="T2" fmla="*/ 3 w 50"/>
                  <a:gd name="T3" fmla="*/ 49 h 74"/>
                  <a:gd name="T4" fmla="*/ 13 w 50"/>
                  <a:gd name="T5" fmla="*/ 64 h 74"/>
                  <a:gd name="T6" fmla="*/ 22 w 50"/>
                  <a:gd name="T7" fmla="*/ 71 h 74"/>
                  <a:gd name="T8" fmla="*/ 34 w 50"/>
                  <a:gd name="T9" fmla="*/ 73 h 74"/>
                  <a:gd name="T10" fmla="*/ 42 w 50"/>
                  <a:gd name="T11" fmla="*/ 67 h 74"/>
                  <a:gd name="T12" fmla="*/ 47 w 50"/>
                  <a:gd name="T13" fmla="*/ 57 h 74"/>
                  <a:gd name="T14" fmla="*/ 47 w 50"/>
                  <a:gd name="T15" fmla="*/ 25 h 74"/>
                  <a:gd name="T16" fmla="*/ 35 w 50"/>
                  <a:gd name="T17" fmla="*/ 6 h 74"/>
                  <a:gd name="T18" fmla="*/ 25 w 50"/>
                  <a:gd name="T19" fmla="*/ 1 h 74"/>
                  <a:gd name="T20" fmla="*/ 14 w 50"/>
                  <a:gd name="T21" fmla="*/ 2 h 74"/>
                  <a:gd name="T22" fmla="*/ 5 w 50"/>
                  <a:gd name="T23" fmla="*/ 10 h 74"/>
                  <a:gd name="T24" fmla="*/ 2 w 50"/>
                  <a:gd name="T25" fmla="*/ 2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74">
                    <a:moveTo>
                      <a:pt x="2" y="22"/>
                    </a:moveTo>
                    <a:cubicBezTo>
                      <a:pt x="0" y="31"/>
                      <a:pt x="0" y="40"/>
                      <a:pt x="3" y="49"/>
                    </a:cubicBezTo>
                    <a:cubicBezTo>
                      <a:pt x="5" y="55"/>
                      <a:pt x="9" y="60"/>
                      <a:pt x="13" y="64"/>
                    </a:cubicBezTo>
                    <a:cubicBezTo>
                      <a:pt x="15" y="67"/>
                      <a:pt x="19" y="70"/>
                      <a:pt x="22" y="71"/>
                    </a:cubicBezTo>
                    <a:cubicBezTo>
                      <a:pt x="26" y="73"/>
                      <a:pt x="30" y="74"/>
                      <a:pt x="34" y="73"/>
                    </a:cubicBezTo>
                    <a:cubicBezTo>
                      <a:pt x="37" y="72"/>
                      <a:pt x="40" y="70"/>
                      <a:pt x="42" y="67"/>
                    </a:cubicBezTo>
                    <a:cubicBezTo>
                      <a:pt x="45" y="64"/>
                      <a:pt x="46" y="61"/>
                      <a:pt x="47" y="57"/>
                    </a:cubicBezTo>
                    <a:cubicBezTo>
                      <a:pt x="50" y="47"/>
                      <a:pt x="50" y="36"/>
                      <a:pt x="47" y="25"/>
                    </a:cubicBezTo>
                    <a:cubicBezTo>
                      <a:pt x="44" y="18"/>
                      <a:pt x="41" y="11"/>
                      <a:pt x="35" y="6"/>
                    </a:cubicBezTo>
                    <a:cubicBezTo>
                      <a:pt x="32" y="3"/>
                      <a:pt x="28" y="1"/>
                      <a:pt x="25" y="1"/>
                    </a:cubicBezTo>
                    <a:cubicBezTo>
                      <a:pt x="21" y="0"/>
                      <a:pt x="17" y="0"/>
                      <a:pt x="14" y="2"/>
                    </a:cubicBezTo>
                    <a:cubicBezTo>
                      <a:pt x="10" y="3"/>
                      <a:pt x="7" y="6"/>
                      <a:pt x="5" y="10"/>
                    </a:cubicBezTo>
                    <a:cubicBezTo>
                      <a:pt x="3" y="14"/>
                      <a:pt x="2" y="18"/>
                      <a:pt x="2" y="22"/>
                    </a:cubicBezTo>
                    <a:close/>
                  </a:path>
                </a:pathLst>
              </a:custGeom>
              <a:solidFill>
                <a:srgbClr val="0973D1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32" name="Freeform 34"/>
              <p:cNvSpPr>
                <a:spLocks/>
              </p:cNvSpPr>
              <p:nvPr/>
            </p:nvSpPr>
            <p:spPr bwMode="auto">
              <a:xfrm>
                <a:off x="2957513" y="3362325"/>
                <a:ext cx="52388" cy="84138"/>
              </a:xfrm>
              <a:custGeom>
                <a:avLst/>
                <a:gdLst>
                  <a:gd name="T0" fmla="*/ 1 w 18"/>
                  <a:gd name="T1" fmla="*/ 5 h 29"/>
                  <a:gd name="T2" fmla="*/ 6 w 18"/>
                  <a:gd name="T3" fmla="*/ 10 h 29"/>
                  <a:gd name="T4" fmla="*/ 9 w 18"/>
                  <a:gd name="T5" fmla="*/ 15 h 29"/>
                  <a:gd name="T6" fmla="*/ 11 w 18"/>
                  <a:gd name="T7" fmla="*/ 28 h 29"/>
                  <a:gd name="T8" fmla="*/ 15 w 18"/>
                  <a:gd name="T9" fmla="*/ 28 h 29"/>
                  <a:gd name="T10" fmla="*/ 16 w 18"/>
                  <a:gd name="T11" fmla="*/ 12 h 29"/>
                  <a:gd name="T12" fmla="*/ 8 w 18"/>
                  <a:gd name="T13" fmla="*/ 2 h 29"/>
                  <a:gd name="T14" fmla="*/ 1 w 18"/>
                  <a:gd name="T15" fmla="*/ 1 h 29"/>
                  <a:gd name="T16" fmla="*/ 1 w 18"/>
                  <a:gd name="T17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29">
                    <a:moveTo>
                      <a:pt x="1" y="5"/>
                    </a:moveTo>
                    <a:cubicBezTo>
                      <a:pt x="2" y="8"/>
                      <a:pt x="4" y="8"/>
                      <a:pt x="6" y="10"/>
                    </a:cubicBezTo>
                    <a:cubicBezTo>
                      <a:pt x="7" y="12"/>
                      <a:pt x="9" y="13"/>
                      <a:pt x="9" y="15"/>
                    </a:cubicBezTo>
                    <a:cubicBezTo>
                      <a:pt x="11" y="19"/>
                      <a:pt x="8" y="25"/>
                      <a:pt x="11" y="28"/>
                    </a:cubicBezTo>
                    <a:cubicBezTo>
                      <a:pt x="12" y="29"/>
                      <a:pt x="14" y="29"/>
                      <a:pt x="15" y="28"/>
                    </a:cubicBezTo>
                    <a:cubicBezTo>
                      <a:pt x="18" y="24"/>
                      <a:pt x="18" y="17"/>
                      <a:pt x="16" y="12"/>
                    </a:cubicBezTo>
                    <a:cubicBezTo>
                      <a:pt x="15" y="8"/>
                      <a:pt x="12" y="4"/>
                      <a:pt x="8" y="2"/>
                    </a:cubicBezTo>
                    <a:cubicBezTo>
                      <a:pt x="6" y="1"/>
                      <a:pt x="3" y="0"/>
                      <a:pt x="1" y="1"/>
                    </a:cubicBezTo>
                    <a:cubicBezTo>
                      <a:pt x="0" y="2"/>
                      <a:pt x="1" y="4"/>
                      <a:pt x="1" y="5"/>
                    </a:cubicBezTo>
                    <a:close/>
                  </a:path>
                </a:pathLst>
              </a:custGeom>
              <a:solidFill>
                <a:srgbClr val="FEFEFC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33" name="Freeform 35"/>
              <p:cNvSpPr>
                <a:spLocks/>
              </p:cNvSpPr>
              <p:nvPr/>
            </p:nvSpPr>
            <p:spPr bwMode="auto">
              <a:xfrm>
                <a:off x="3411538" y="3128963"/>
                <a:ext cx="142875" cy="127000"/>
              </a:xfrm>
              <a:custGeom>
                <a:avLst/>
                <a:gdLst>
                  <a:gd name="T0" fmla="*/ 6 w 49"/>
                  <a:gd name="T1" fmla="*/ 0 h 44"/>
                  <a:gd name="T2" fmla="*/ 0 w 49"/>
                  <a:gd name="T3" fmla="*/ 3 h 44"/>
                  <a:gd name="T4" fmla="*/ 20 w 49"/>
                  <a:gd name="T5" fmla="*/ 11 h 44"/>
                  <a:gd name="T6" fmla="*/ 48 w 49"/>
                  <a:gd name="T7" fmla="*/ 44 h 44"/>
                  <a:gd name="T8" fmla="*/ 47 w 49"/>
                  <a:gd name="T9" fmla="*/ 34 h 44"/>
                  <a:gd name="T10" fmla="*/ 23 w 49"/>
                  <a:gd name="T11" fmla="*/ 4 h 44"/>
                  <a:gd name="T12" fmla="*/ 6 w 49"/>
                  <a:gd name="T13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44">
                    <a:moveTo>
                      <a:pt x="6" y="0"/>
                    </a:moveTo>
                    <a:cubicBezTo>
                      <a:pt x="4" y="0"/>
                      <a:pt x="1" y="0"/>
                      <a:pt x="0" y="3"/>
                    </a:cubicBezTo>
                    <a:cubicBezTo>
                      <a:pt x="7" y="4"/>
                      <a:pt x="14" y="7"/>
                      <a:pt x="20" y="11"/>
                    </a:cubicBezTo>
                    <a:cubicBezTo>
                      <a:pt x="32" y="19"/>
                      <a:pt x="41" y="31"/>
                      <a:pt x="48" y="44"/>
                    </a:cubicBezTo>
                    <a:cubicBezTo>
                      <a:pt x="49" y="42"/>
                      <a:pt x="48" y="37"/>
                      <a:pt x="47" y="34"/>
                    </a:cubicBezTo>
                    <a:cubicBezTo>
                      <a:pt x="42" y="22"/>
                      <a:pt x="36" y="13"/>
                      <a:pt x="23" y="4"/>
                    </a:cubicBezTo>
                    <a:cubicBezTo>
                      <a:pt x="17" y="0"/>
                      <a:pt x="12" y="0"/>
                      <a:pt x="6" y="0"/>
                    </a:cubicBezTo>
                    <a:close/>
                  </a:path>
                </a:pathLst>
              </a:custGeom>
              <a:solidFill>
                <a:srgbClr val="FDFDFB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34" name="Freeform 36"/>
              <p:cNvSpPr>
                <a:spLocks/>
              </p:cNvSpPr>
              <p:nvPr/>
            </p:nvSpPr>
            <p:spPr bwMode="auto">
              <a:xfrm>
                <a:off x="2940050" y="3154363"/>
                <a:ext cx="133350" cy="106363"/>
              </a:xfrm>
              <a:custGeom>
                <a:avLst/>
                <a:gdLst>
                  <a:gd name="T0" fmla="*/ 3 w 46"/>
                  <a:gd name="T1" fmla="*/ 1 h 37"/>
                  <a:gd name="T2" fmla="*/ 1 w 46"/>
                  <a:gd name="T3" fmla="*/ 1 h 37"/>
                  <a:gd name="T4" fmla="*/ 0 w 46"/>
                  <a:gd name="T5" fmla="*/ 1 h 37"/>
                  <a:gd name="T6" fmla="*/ 12 w 46"/>
                  <a:gd name="T7" fmla="*/ 4 h 37"/>
                  <a:gd name="T8" fmla="*/ 27 w 46"/>
                  <a:gd name="T9" fmla="*/ 13 h 37"/>
                  <a:gd name="T10" fmla="*/ 46 w 46"/>
                  <a:gd name="T11" fmla="*/ 37 h 37"/>
                  <a:gd name="T12" fmla="*/ 39 w 46"/>
                  <a:gd name="T13" fmla="*/ 18 h 37"/>
                  <a:gd name="T14" fmla="*/ 34 w 46"/>
                  <a:gd name="T15" fmla="*/ 13 h 37"/>
                  <a:gd name="T16" fmla="*/ 18 w 46"/>
                  <a:gd name="T17" fmla="*/ 4 h 37"/>
                  <a:gd name="T18" fmla="*/ 3 w 46"/>
                  <a:gd name="T19" fmla="*/ 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" h="37">
                    <a:moveTo>
                      <a:pt x="3" y="1"/>
                    </a:moveTo>
                    <a:cubicBezTo>
                      <a:pt x="3" y="0"/>
                      <a:pt x="2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4" y="1"/>
                      <a:pt x="8" y="2"/>
                      <a:pt x="12" y="4"/>
                    </a:cubicBezTo>
                    <a:cubicBezTo>
                      <a:pt x="18" y="6"/>
                      <a:pt x="23" y="9"/>
                      <a:pt x="27" y="13"/>
                    </a:cubicBezTo>
                    <a:cubicBezTo>
                      <a:pt x="36" y="20"/>
                      <a:pt x="42" y="28"/>
                      <a:pt x="46" y="37"/>
                    </a:cubicBezTo>
                    <a:cubicBezTo>
                      <a:pt x="45" y="30"/>
                      <a:pt x="43" y="24"/>
                      <a:pt x="39" y="18"/>
                    </a:cubicBezTo>
                    <a:cubicBezTo>
                      <a:pt x="38" y="16"/>
                      <a:pt x="36" y="15"/>
                      <a:pt x="34" y="13"/>
                    </a:cubicBezTo>
                    <a:cubicBezTo>
                      <a:pt x="29" y="10"/>
                      <a:pt x="24" y="6"/>
                      <a:pt x="18" y="4"/>
                    </a:cubicBezTo>
                    <a:cubicBezTo>
                      <a:pt x="14" y="2"/>
                      <a:pt x="9" y="1"/>
                      <a:pt x="3" y="1"/>
                    </a:cubicBezTo>
                    <a:close/>
                  </a:path>
                </a:pathLst>
              </a:custGeom>
              <a:solidFill>
                <a:srgbClr val="FDFDFB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35" name="Freeform 37"/>
              <p:cNvSpPr>
                <a:spLocks/>
              </p:cNvSpPr>
              <p:nvPr/>
            </p:nvSpPr>
            <p:spPr bwMode="auto">
              <a:xfrm>
                <a:off x="2836863" y="3443288"/>
                <a:ext cx="701675" cy="361950"/>
              </a:xfrm>
              <a:custGeom>
                <a:avLst/>
                <a:gdLst>
                  <a:gd name="T0" fmla="*/ 32 w 243"/>
                  <a:gd name="T1" fmla="*/ 41 h 125"/>
                  <a:gd name="T2" fmla="*/ 12 w 243"/>
                  <a:gd name="T3" fmla="*/ 60 h 125"/>
                  <a:gd name="T4" fmla="*/ 3 w 243"/>
                  <a:gd name="T5" fmla="*/ 72 h 125"/>
                  <a:gd name="T6" fmla="*/ 1 w 243"/>
                  <a:gd name="T7" fmla="*/ 86 h 125"/>
                  <a:gd name="T8" fmla="*/ 0 w 243"/>
                  <a:gd name="T9" fmla="*/ 91 h 125"/>
                  <a:gd name="T10" fmla="*/ 1 w 243"/>
                  <a:gd name="T11" fmla="*/ 93 h 125"/>
                  <a:gd name="T12" fmla="*/ 2 w 243"/>
                  <a:gd name="T13" fmla="*/ 95 h 125"/>
                  <a:gd name="T14" fmla="*/ 5 w 243"/>
                  <a:gd name="T15" fmla="*/ 97 h 125"/>
                  <a:gd name="T16" fmla="*/ 9 w 243"/>
                  <a:gd name="T17" fmla="*/ 97 h 125"/>
                  <a:gd name="T18" fmla="*/ 25 w 243"/>
                  <a:gd name="T19" fmla="*/ 104 h 125"/>
                  <a:gd name="T20" fmla="*/ 40 w 243"/>
                  <a:gd name="T21" fmla="*/ 114 h 125"/>
                  <a:gd name="T22" fmla="*/ 77 w 243"/>
                  <a:gd name="T23" fmla="*/ 125 h 125"/>
                  <a:gd name="T24" fmla="*/ 115 w 243"/>
                  <a:gd name="T25" fmla="*/ 121 h 125"/>
                  <a:gd name="T26" fmla="*/ 145 w 243"/>
                  <a:gd name="T27" fmla="*/ 113 h 125"/>
                  <a:gd name="T28" fmla="*/ 186 w 243"/>
                  <a:gd name="T29" fmla="*/ 88 h 125"/>
                  <a:gd name="T30" fmla="*/ 203 w 243"/>
                  <a:gd name="T31" fmla="*/ 75 h 125"/>
                  <a:gd name="T32" fmla="*/ 208 w 243"/>
                  <a:gd name="T33" fmla="*/ 70 h 125"/>
                  <a:gd name="T34" fmla="*/ 214 w 243"/>
                  <a:gd name="T35" fmla="*/ 66 h 125"/>
                  <a:gd name="T36" fmla="*/ 225 w 243"/>
                  <a:gd name="T37" fmla="*/ 66 h 125"/>
                  <a:gd name="T38" fmla="*/ 234 w 243"/>
                  <a:gd name="T39" fmla="*/ 67 h 125"/>
                  <a:gd name="T40" fmla="*/ 238 w 243"/>
                  <a:gd name="T41" fmla="*/ 66 h 125"/>
                  <a:gd name="T42" fmla="*/ 241 w 243"/>
                  <a:gd name="T43" fmla="*/ 64 h 125"/>
                  <a:gd name="T44" fmla="*/ 243 w 243"/>
                  <a:gd name="T45" fmla="*/ 58 h 125"/>
                  <a:gd name="T46" fmla="*/ 242 w 243"/>
                  <a:gd name="T47" fmla="*/ 53 h 125"/>
                  <a:gd name="T48" fmla="*/ 233 w 243"/>
                  <a:gd name="T49" fmla="*/ 46 h 125"/>
                  <a:gd name="T50" fmla="*/ 219 w 243"/>
                  <a:gd name="T51" fmla="*/ 42 h 125"/>
                  <a:gd name="T52" fmla="*/ 175 w 243"/>
                  <a:gd name="T53" fmla="*/ 26 h 125"/>
                  <a:gd name="T54" fmla="*/ 155 w 243"/>
                  <a:gd name="T55" fmla="*/ 15 h 125"/>
                  <a:gd name="T56" fmla="*/ 133 w 243"/>
                  <a:gd name="T57" fmla="*/ 6 h 125"/>
                  <a:gd name="T58" fmla="*/ 81 w 243"/>
                  <a:gd name="T59" fmla="*/ 8 h 125"/>
                  <a:gd name="T60" fmla="*/ 32 w 243"/>
                  <a:gd name="T61" fmla="*/ 41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43" h="125">
                    <a:moveTo>
                      <a:pt x="32" y="41"/>
                    </a:moveTo>
                    <a:cubicBezTo>
                      <a:pt x="25" y="47"/>
                      <a:pt x="18" y="53"/>
                      <a:pt x="12" y="60"/>
                    </a:cubicBezTo>
                    <a:cubicBezTo>
                      <a:pt x="8" y="63"/>
                      <a:pt x="4" y="67"/>
                      <a:pt x="3" y="72"/>
                    </a:cubicBezTo>
                    <a:cubicBezTo>
                      <a:pt x="1" y="77"/>
                      <a:pt x="2" y="81"/>
                      <a:pt x="1" y="86"/>
                    </a:cubicBezTo>
                    <a:cubicBezTo>
                      <a:pt x="1" y="87"/>
                      <a:pt x="0" y="89"/>
                      <a:pt x="0" y="91"/>
                    </a:cubicBezTo>
                    <a:cubicBezTo>
                      <a:pt x="0" y="91"/>
                      <a:pt x="0" y="92"/>
                      <a:pt x="1" y="93"/>
                    </a:cubicBezTo>
                    <a:cubicBezTo>
                      <a:pt x="1" y="94"/>
                      <a:pt x="1" y="94"/>
                      <a:pt x="2" y="95"/>
                    </a:cubicBezTo>
                    <a:cubicBezTo>
                      <a:pt x="3" y="96"/>
                      <a:pt x="4" y="96"/>
                      <a:pt x="5" y="97"/>
                    </a:cubicBezTo>
                    <a:cubicBezTo>
                      <a:pt x="7" y="97"/>
                      <a:pt x="8" y="97"/>
                      <a:pt x="9" y="97"/>
                    </a:cubicBezTo>
                    <a:cubicBezTo>
                      <a:pt x="15" y="98"/>
                      <a:pt x="20" y="101"/>
                      <a:pt x="25" y="104"/>
                    </a:cubicBezTo>
                    <a:cubicBezTo>
                      <a:pt x="30" y="107"/>
                      <a:pt x="35" y="111"/>
                      <a:pt x="40" y="114"/>
                    </a:cubicBezTo>
                    <a:cubicBezTo>
                      <a:pt x="51" y="121"/>
                      <a:pt x="64" y="124"/>
                      <a:pt x="77" y="125"/>
                    </a:cubicBezTo>
                    <a:cubicBezTo>
                      <a:pt x="90" y="125"/>
                      <a:pt x="103" y="123"/>
                      <a:pt x="115" y="121"/>
                    </a:cubicBezTo>
                    <a:cubicBezTo>
                      <a:pt x="126" y="119"/>
                      <a:pt x="136" y="116"/>
                      <a:pt x="145" y="113"/>
                    </a:cubicBezTo>
                    <a:cubicBezTo>
                      <a:pt x="160" y="107"/>
                      <a:pt x="173" y="98"/>
                      <a:pt x="186" y="88"/>
                    </a:cubicBezTo>
                    <a:cubicBezTo>
                      <a:pt x="192" y="84"/>
                      <a:pt x="198" y="80"/>
                      <a:pt x="203" y="75"/>
                    </a:cubicBezTo>
                    <a:cubicBezTo>
                      <a:pt x="204" y="73"/>
                      <a:pt x="206" y="71"/>
                      <a:pt x="208" y="70"/>
                    </a:cubicBezTo>
                    <a:cubicBezTo>
                      <a:pt x="210" y="68"/>
                      <a:pt x="212" y="67"/>
                      <a:pt x="214" y="66"/>
                    </a:cubicBezTo>
                    <a:cubicBezTo>
                      <a:pt x="218" y="65"/>
                      <a:pt x="222" y="65"/>
                      <a:pt x="225" y="66"/>
                    </a:cubicBezTo>
                    <a:cubicBezTo>
                      <a:pt x="228" y="66"/>
                      <a:pt x="231" y="67"/>
                      <a:pt x="234" y="67"/>
                    </a:cubicBezTo>
                    <a:cubicBezTo>
                      <a:pt x="235" y="67"/>
                      <a:pt x="237" y="66"/>
                      <a:pt x="238" y="66"/>
                    </a:cubicBezTo>
                    <a:cubicBezTo>
                      <a:pt x="239" y="65"/>
                      <a:pt x="240" y="65"/>
                      <a:pt x="241" y="64"/>
                    </a:cubicBezTo>
                    <a:cubicBezTo>
                      <a:pt x="242" y="62"/>
                      <a:pt x="243" y="60"/>
                      <a:pt x="243" y="58"/>
                    </a:cubicBezTo>
                    <a:cubicBezTo>
                      <a:pt x="243" y="57"/>
                      <a:pt x="242" y="55"/>
                      <a:pt x="242" y="53"/>
                    </a:cubicBezTo>
                    <a:cubicBezTo>
                      <a:pt x="240" y="50"/>
                      <a:pt x="236" y="48"/>
                      <a:pt x="233" y="46"/>
                    </a:cubicBezTo>
                    <a:cubicBezTo>
                      <a:pt x="228" y="44"/>
                      <a:pt x="223" y="43"/>
                      <a:pt x="219" y="42"/>
                    </a:cubicBezTo>
                    <a:cubicBezTo>
                      <a:pt x="203" y="38"/>
                      <a:pt x="189" y="33"/>
                      <a:pt x="175" y="26"/>
                    </a:cubicBezTo>
                    <a:cubicBezTo>
                      <a:pt x="168" y="23"/>
                      <a:pt x="161" y="19"/>
                      <a:pt x="155" y="15"/>
                    </a:cubicBezTo>
                    <a:cubicBezTo>
                      <a:pt x="148" y="12"/>
                      <a:pt x="140" y="8"/>
                      <a:pt x="133" y="6"/>
                    </a:cubicBezTo>
                    <a:cubicBezTo>
                      <a:pt x="116" y="0"/>
                      <a:pt x="97" y="2"/>
                      <a:pt x="81" y="8"/>
                    </a:cubicBezTo>
                    <a:cubicBezTo>
                      <a:pt x="62" y="14"/>
                      <a:pt x="45" y="26"/>
                      <a:pt x="32" y="41"/>
                    </a:cubicBezTo>
                    <a:close/>
                  </a:path>
                </a:pathLst>
              </a:custGeom>
              <a:solidFill>
                <a:srgbClr val="0973D1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36" name="Freeform 38"/>
              <p:cNvSpPr>
                <a:spLocks/>
              </p:cNvSpPr>
              <p:nvPr/>
            </p:nvSpPr>
            <p:spPr bwMode="auto">
              <a:xfrm>
                <a:off x="2836863" y="3630613"/>
                <a:ext cx="714375" cy="327025"/>
              </a:xfrm>
              <a:custGeom>
                <a:avLst/>
                <a:gdLst>
                  <a:gd name="T0" fmla="*/ 0 w 247"/>
                  <a:gd name="T1" fmla="*/ 42 h 113"/>
                  <a:gd name="T2" fmla="*/ 35 w 247"/>
                  <a:gd name="T3" fmla="*/ 72 h 113"/>
                  <a:gd name="T4" fmla="*/ 65 w 247"/>
                  <a:gd name="T5" fmla="*/ 102 h 113"/>
                  <a:gd name="T6" fmla="*/ 94 w 247"/>
                  <a:gd name="T7" fmla="*/ 112 h 113"/>
                  <a:gd name="T8" fmla="*/ 131 w 247"/>
                  <a:gd name="T9" fmla="*/ 108 h 113"/>
                  <a:gd name="T10" fmla="*/ 162 w 247"/>
                  <a:gd name="T11" fmla="*/ 96 h 113"/>
                  <a:gd name="T12" fmla="*/ 216 w 247"/>
                  <a:gd name="T13" fmla="*/ 63 h 113"/>
                  <a:gd name="T14" fmla="*/ 230 w 247"/>
                  <a:gd name="T15" fmla="*/ 59 h 113"/>
                  <a:gd name="T16" fmla="*/ 236 w 247"/>
                  <a:gd name="T17" fmla="*/ 55 h 113"/>
                  <a:gd name="T18" fmla="*/ 240 w 247"/>
                  <a:gd name="T19" fmla="*/ 50 h 113"/>
                  <a:gd name="T20" fmla="*/ 243 w 247"/>
                  <a:gd name="T21" fmla="*/ 37 h 113"/>
                  <a:gd name="T22" fmla="*/ 246 w 247"/>
                  <a:gd name="T23" fmla="*/ 24 h 113"/>
                  <a:gd name="T24" fmla="*/ 245 w 247"/>
                  <a:gd name="T25" fmla="*/ 11 h 113"/>
                  <a:gd name="T26" fmla="*/ 236 w 247"/>
                  <a:gd name="T27" fmla="*/ 2 h 113"/>
                  <a:gd name="T28" fmla="*/ 225 w 247"/>
                  <a:gd name="T29" fmla="*/ 0 h 113"/>
                  <a:gd name="T30" fmla="*/ 200 w 247"/>
                  <a:gd name="T31" fmla="*/ 3 h 113"/>
                  <a:gd name="T32" fmla="*/ 168 w 247"/>
                  <a:gd name="T33" fmla="*/ 3 h 113"/>
                  <a:gd name="T34" fmla="*/ 129 w 247"/>
                  <a:gd name="T35" fmla="*/ 6 h 113"/>
                  <a:gd name="T36" fmla="*/ 83 w 247"/>
                  <a:gd name="T37" fmla="*/ 4 h 113"/>
                  <a:gd name="T38" fmla="*/ 45 w 247"/>
                  <a:gd name="T39" fmla="*/ 12 h 113"/>
                  <a:gd name="T40" fmla="*/ 30 w 247"/>
                  <a:gd name="T41" fmla="*/ 23 h 113"/>
                  <a:gd name="T42" fmla="*/ 14 w 247"/>
                  <a:gd name="T43" fmla="*/ 31 h 113"/>
                  <a:gd name="T44" fmla="*/ 9 w 247"/>
                  <a:gd name="T45" fmla="*/ 31 h 113"/>
                  <a:gd name="T46" fmla="*/ 2 w 247"/>
                  <a:gd name="T47" fmla="*/ 35 h 113"/>
                  <a:gd name="T48" fmla="*/ 0 w 247"/>
                  <a:gd name="T49" fmla="*/ 42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47" h="113">
                    <a:moveTo>
                      <a:pt x="0" y="42"/>
                    </a:moveTo>
                    <a:cubicBezTo>
                      <a:pt x="13" y="50"/>
                      <a:pt x="25" y="60"/>
                      <a:pt x="35" y="72"/>
                    </a:cubicBezTo>
                    <a:cubicBezTo>
                      <a:pt x="45" y="82"/>
                      <a:pt x="53" y="95"/>
                      <a:pt x="65" y="102"/>
                    </a:cubicBezTo>
                    <a:cubicBezTo>
                      <a:pt x="74" y="108"/>
                      <a:pt x="84" y="111"/>
                      <a:pt x="94" y="112"/>
                    </a:cubicBezTo>
                    <a:cubicBezTo>
                      <a:pt x="106" y="113"/>
                      <a:pt x="119" y="111"/>
                      <a:pt x="131" y="108"/>
                    </a:cubicBezTo>
                    <a:cubicBezTo>
                      <a:pt x="142" y="105"/>
                      <a:pt x="152" y="101"/>
                      <a:pt x="162" y="96"/>
                    </a:cubicBezTo>
                    <a:cubicBezTo>
                      <a:pt x="180" y="85"/>
                      <a:pt x="196" y="69"/>
                      <a:pt x="216" y="63"/>
                    </a:cubicBezTo>
                    <a:cubicBezTo>
                      <a:pt x="221" y="61"/>
                      <a:pt x="225" y="60"/>
                      <a:pt x="230" y="59"/>
                    </a:cubicBezTo>
                    <a:cubicBezTo>
                      <a:pt x="232" y="58"/>
                      <a:pt x="234" y="56"/>
                      <a:pt x="236" y="55"/>
                    </a:cubicBezTo>
                    <a:cubicBezTo>
                      <a:pt x="238" y="54"/>
                      <a:pt x="239" y="52"/>
                      <a:pt x="240" y="50"/>
                    </a:cubicBezTo>
                    <a:cubicBezTo>
                      <a:pt x="242" y="46"/>
                      <a:pt x="242" y="41"/>
                      <a:pt x="243" y="37"/>
                    </a:cubicBezTo>
                    <a:cubicBezTo>
                      <a:pt x="243" y="33"/>
                      <a:pt x="245" y="29"/>
                      <a:pt x="246" y="24"/>
                    </a:cubicBezTo>
                    <a:cubicBezTo>
                      <a:pt x="246" y="20"/>
                      <a:pt x="247" y="15"/>
                      <a:pt x="245" y="11"/>
                    </a:cubicBezTo>
                    <a:cubicBezTo>
                      <a:pt x="243" y="7"/>
                      <a:pt x="240" y="4"/>
                      <a:pt x="236" y="2"/>
                    </a:cubicBezTo>
                    <a:cubicBezTo>
                      <a:pt x="233" y="1"/>
                      <a:pt x="229" y="0"/>
                      <a:pt x="225" y="0"/>
                    </a:cubicBezTo>
                    <a:cubicBezTo>
                      <a:pt x="216" y="0"/>
                      <a:pt x="208" y="2"/>
                      <a:pt x="200" y="3"/>
                    </a:cubicBezTo>
                    <a:cubicBezTo>
                      <a:pt x="190" y="4"/>
                      <a:pt x="179" y="2"/>
                      <a:pt x="168" y="3"/>
                    </a:cubicBezTo>
                    <a:cubicBezTo>
                      <a:pt x="155" y="3"/>
                      <a:pt x="142" y="6"/>
                      <a:pt x="129" y="6"/>
                    </a:cubicBezTo>
                    <a:cubicBezTo>
                      <a:pt x="113" y="7"/>
                      <a:pt x="98" y="5"/>
                      <a:pt x="83" y="4"/>
                    </a:cubicBezTo>
                    <a:cubicBezTo>
                      <a:pt x="70" y="4"/>
                      <a:pt x="56" y="5"/>
                      <a:pt x="45" y="12"/>
                    </a:cubicBezTo>
                    <a:cubicBezTo>
                      <a:pt x="40" y="15"/>
                      <a:pt x="35" y="19"/>
                      <a:pt x="30" y="23"/>
                    </a:cubicBezTo>
                    <a:cubicBezTo>
                      <a:pt x="26" y="27"/>
                      <a:pt x="20" y="30"/>
                      <a:pt x="14" y="31"/>
                    </a:cubicBezTo>
                    <a:cubicBezTo>
                      <a:pt x="12" y="31"/>
                      <a:pt x="10" y="30"/>
                      <a:pt x="9" y="31"/>
                    </a:cubicBezTo>
                    <a:cubicBezTo>
                      <a:pt x="6" y="31"/>
                      <a:pt x="4" y="33"/>
                      <a:pt x="2" y="35"/>
                    </a:cubicBezTo>
                    <a:cubicBezTo>
                      <a:pt x="1" y="37"/>
                      <a:pt x="0" y="39"/>
                      <a:pt x="0" y="42"/>
                    </a:cubicBezTo>
                    <a:close/>
                  </a:path>
                </a:pathLst>
              </a:custGeom>
              <a:solidFill>
                <a:srgbClr val="0973D1"/>
              </a:solidFill>
              <a:ln w="3492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37" name="Freeform 39"/>
              <p:cNvSpPr>
                <a:spLocks/>
              </p:cNvSpPr>
              <p:nvPr/>
            </p:nvSpPr>
            <p:spPr bwMode="auto">
              <a:xfrm>
                <a:off x="2838450" y="3594100"/>
                <a:ext cx="709613" cy="358775"/>
              </a:xfrm>
              <a:custGeom>
                <a:avLst/>
                <a:gdLst>
                  <a:gd name="T0" fmla="*/ 0 w 245"/>
                  <a:gd name="T1" fmla="*/ 45 h 124"/>
                  <a:gd name="T2" fmla="*/ 1 w 245"/>
                  <a:gd name="T3" fmla="*/ 48 h 124"/>
                  <a:gd name="T4" fmla="*/ 5 w 245"/>
                  <a:gd name="T5" fmla="*/ 53 h 124"/>
                  <a:gd name="T6" fmla="*/ 11 w 245"/>
                  <a:gd name="T7" fmla="*/ 56 h 124"/>
                  <a:gd name="T8" fmla="*/ 34 w 245"/>
                  <a:gd name="T9" fmla="*/ 79 h 124"/>
                  <a:gd name="T10" fmla="*/ 64 w 245"/>
                  <a:gd name="T11" fmla="*/ 112 h 124"/>
                  <a:gd name="T12" fmla="*/ 93 w 245"/>
                  <a:gd name="T13" fmla="*/ 123 h 124"/>
                  <a:gd name="T14" fmla="*/ 130 w 245"/>
                  <a:gd name="T15" fmla="*/ 119 h 124"/>
                  <a:gd name="T16" fmla="*/ 161 w 245"/>
                  <a:gd name="T17" fmla="*/ 105 h 124"/>
                  <a:gd name="T18" fmla="*/ 215 w 245"/>
                  <a:gd name="T19" fmla="*/ 69 h 124"/>
                  <a:gd name="T20" fmla="*/ 229 w 245"/>
                  <a:gd name="T21" fmla="*/ 64 h 124"/>
                  <a:gd name="T22" fmla="*/ 239 w 245"/>
                  <a:gd name="T23" fmla="*/ 55 h 124"/>
                  <a:gd name="T24" fmla="*/ 242 w 245"/>
                  <a:gd name="T25" fmla="*/ 42 h 124"/>
                  <a:gd name="T26" fmla="*/ 245 w 245"/>
                  <a:gd name="T27" fmla="*/ 24 h 124"/>
                  <a:gd name="T28" fmla="*/ 245 w 245"/>
                  <a:gd name="T29" fmla="*/ 15 h 124"/>
                  <a:gd name="T30" fmla="*/ 242 w 245"/>
                  <a:gd name="T31" fmla="*/ 7 h 124"/>
                  <a:gd name="T32" fmla="*/ 232 w 245"/>
                  <a:gd name="T33" fmla="*/ 1 h 124"/>
                  <a:gd name="T34" fmla="*/ 221 w 245"/>
                  <a:gd name="T35" fmla="*/ 0 h 124"/>
                  <a:gd name="T36" fmla="*/ 199 w 245"/>
                  <a:gd name="T37" fmla="*/ 4 h 124"/>
                  <a:gd name="T38" fmla="*/ 167 w 245"/>
                  <a:gd name="T39" fmla="*/ 4 h 124"/>
                  <a:gd name="T40" fmla="*/ 128 w 245"/>
                  <a:gd name="T41" fmla="*/ 8 h 124"/>
                  <a:gd name="T42" fmla="*/ 82 w 245"/>
                  <a:gd name="T43" fmla="*/ 6 h 124"/>
                  <a:gd name="T44" fmla="*/ 62 w 245"/>
                  <a:gd name="T45" fmla="*/ 7 h 124"/>
                  <a:gd name="T46" fmla="*/ 44 w 245"/>
                  <a:gd name="T47" fmla="*/ 14 h 124"/>
                  <a:gd name="T48" fmla="*/ 30 w 245"/>
                  <a:gd name="T49" fmla="*/ 27 h 124"/>
                  <a:gd name="T50" fmla="*/ 22 w 245"/>
                  <a:gd name="T51" fmla="*/ 32 h 124"/>
                  <a:gd name="T52" fmla="*/ 13 w 245"/>
                  <a:gd name="T53" fmla="*/ 34 h 124"/>
                  <a:gd name="T54" fmla="*/ 8 w 245"/>
                  <a:gd name="T55" fmla="*/ 34 h 124"/>
                  <a:gd name="T56" fmla="*/ 5 w 245"/>
                  <a:gd name="T57" fmla="*/ 36 h 124"/>
                  <a:gd name="T58" fmla="*/ 3 w 245"/>
                  <a:gd name="T59" fmla="*/ 39 h 124"/>
                  <a:gd name="T60" fmla="*/ 0 w 245"/>
                  <a:gd name="T61" fmla="*/ 45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45" h="124">
                    <a:moveTo>
                      <a:pt x="0" y="45"/>
                    </a:moveTo>
                    <a:cubicBezTo>
                      <a:pt x="0" y="46"/>
                      <a:pt x="0" y="47"/>
                      <a:pt x="1" y="48"/>
                    </a:cubicBezTo>
                    <a:cubicBezTo>
                      <a:pt x="2" y="50"/>
                      <a:pt x="4" y="51"/>
                      <a:pt x="5" y="53"/>
                    </a:cubicBezTo>
                    <a:cubicBezTo>
                      <a:pt x="7" y="54"/>
                      <a:pt x="9" y="55"/>
                      <a:pt x="11" y="56"/>
                    </a:cubicBezTo>
                    <a:cubicBezTo>
                      <a:pt x="20" y="62"/>
                      <a:pt x="28" y="70"/>
                      <a:pt x="34" y="79"/>
                    </a:cubicBezTo>
                    <a:cubicBezTo>
                      <a:pt x="44" y="91"/>
                      <a:pt x="52" y="104"/>
                      <a:pt x="64" y="112"/>
                    </a:cubicBezTo>
                    <a:cubicBezTo>
                      <a:pt x="72" y="118"/>
                      <a:pt x="83" y="122"/>
                      <a:pt x="93" y="123"/>
                    </a:cubicBezTo>
                    <a:cubicBezTo>
                      <a:pt x="105" y="124"/>
                      <a:pt x="118" y="122"/>
                      <a:pt x="130" y="119"/>
                    </a:cubicBezTo>
                    <a:cubicBezTo>
                      <a:pt x="141" y="115"/>
                      <a:pt x="151" y="111"/>
                      <a:pt x="161" y="105"/>
                    </a:cubicBezTo>
                    <a:cubicBezTo>
                      <a:pt x="180" y="93"/>
                      <a:pt x="195" y="77"/>
                      <a:pt x="215" y="69"/>
                    </a:cubicBezTo>
                    <a:cubicBezTo>
                      <a:pt x="220" y="68"/>
                      <a:pt x="225" y="66"/>
                      <a:pt x="229" y="64"/>
                    </a:cubicBezTo>
                    <a:cubicBezTo>
                      <a:pt x="233" y="62"/>
                      <a:pt x="237" y="59"/>
                      <a:pt x="239" y="55"/>
                    </a:cubicBezTo>
                    <a:cubicBezTo>
                      <a:pt x="241" y="51"/>
                      <a:pt x="241" y="46"/>
                      <a:pt x="242" y="42"/>
                    </a:cubicBezTo>
                    <a:cubicBezTo>
                      <a:pt x="242" y="36"/>
                      <a:pt x="244" y="30"/>
                      <a:pt x="245" y="24"/>
                    </a:cubicBezTo>
                    <a:cubicBezTo>
                      <a:pt x="245" y="21"/>
                      <a:pt x="245" y="18"/>
                      <a:pt x="245" y="15"/>
                    </a:cubicBezTo>
                    <a:cubicBezTo>
                      <a:pt x="244" y="13"/>
                      <a:pt x="243" y="10"/>
                      <a:pt x="242" y="7"/>
                    </a:cubicBezTo>
                    <a:cubicBezTo>
                      <a:pt x="239" y="4"/>
                      <a:pt x="236" y="2"/>
                      <a:pt x="232" y="1"/>
                    </a:cubicBezTo>
                    <a:cubicBezTo>
                      <a:pt x="229" y="0"/>
                      <a:pt x="225" y="0"/>
                      <a:pt x="221" y="0"/>
                    </a:cubicBezTo>
                    <a:cubicBezTo>
                      <a:pt x="214" y="1"/>
                      <a:pt x="207" y="3"/>
                      <a:pt x="199" y="4"/>
                    </a:cubicBezTo>
                    <a:cubicBezTo>
                      <a:pt x="189" y="6"/>
                      <a:pt x="178" y="4"/>
                      <a:pt x="167" y="4"/>
                    </a:cubicBezTo>
                    <a:cubicBezTo>
                      <a:pt x="154" y="4"/>
                      <a:pt x="141" y="7"/>
                      <a:pt x="128" y="8"/>
                    </a:cubicBezTo>
                    <a:cubicBezTo>
                      <a:pt x="112" y="9"/>
                      <a:pt x="97" y="7"/>
                      <a:pt x="82" y="6"/>
                    </a:cubicBezTo>
                    <a:cubicBezTo>
                      <a:pt x="75" y="6"/>
                      <a:pt x="69" y="6"/>
                      <a:pt x="62" y="7"/>
                    </a:cubicBezTo>
                    <a:cubicBezTo>
                      <a:pt x="56" y="8"/>
                      <a:pt x="50" y="10"/>
                      <a:pt x="44" y="14"/>
                    </a:cubicBezTo>
                    <a:cubicBezTo>
                      <a:pt x="39" y="17"/>
                      <a:pt x="35" y="22"/>
                      <a:pt x="30" y="27"/>
                    </a:cubicBezTo>
                    <a:cubicBezTo>
                      <a:pt x="27" y="29"/>
                      <a:pt x="25" y="31"/>
                      <a:pt x="22" y="32"/>
                    </a:cubicBezTo>
                    <a:cubicBezTo>
                      <a:pt x="19" y="33"/>
                      <a:pt x="16" y="34"/>
                      <a:pt x="13" y="34"/>
                    </a:cubicBezTo>
                    <a:cubicBezTo>
                      <a:pt x="11" y="34"/>
                      <a:pt x="9" y="34"/>
                      <a:pt x="8" y="34"/>
                    </a:cubicBezTo>
                    <a:cubicBezTo>
                      <a:pt x="7" y="35"/>
                      <a:pt x="6" y="35"/>
                      <a:pt x="5" y="36"/>
                    </a:cubicBezTo>
                    <a:cubicBezTo>
                      <a:pt x="4" y="37"/>
                      <a:pt x="4" y="38"/>
                      <a:pt x="3" y="39"/>
                    </a:cubicBezTo>
                    <a:cubicBezTo>
                      <a:pt x="2" y="41"/>
                      <a:pt x="1" y="43"/>
                      <a:pt x="0" y="4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rgbClr val="0973D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38" name="Freeform 40"/>
              <p:cNvSpPr>
                <a:spLocks/>
              </p:cNvSpPr>
              <p:nvPr/>
            </p:nvSpPr>
            <p:spPr bwMode="auto">
              <a:xfrm>
                <a:off x="2865438" y="3562350"/>
                <a:ext cx="615950" cy="271463"/>
              </a:xfrm>
              <a:custGeom>
                <a:avLst/>
                <a:gdLst>
                  <a:gd name="T0" fmla="*/ 24 w 213"/>
                  <a:gd name="T1" fmla="*/ 22 h 94"/>
                  <a:gd name="T2" fmla="*/ 8 w 213"/>
                  <a:gd name="T3" fmla="*/ 33 h 94"/>
                  <a:gd name="T4" fmla="*/ 2 w 213"/>
                  <a:gd name="T5" fmla="*/ 39 h 94"/>
                  <a:gd name="T6" fmla="*/ 0 w 213"/>
                  <a:gd name="T7" fmla="*/ 46 h 94"/>
                  <a:gd name="T8" fmla="*/ 0 w 213"/>
                  <a:gd name="T9" fmla="*/ 53 h 94"/>
                  <a:gd name="T10" fmla="*/ 0 w 213"/>
                  <a:gd name="T11" fmla="*/ 58 h 94"/>
                  <a:gd name="T12" fmla="*/ 0 w 213"/>
                  <a:gd name="T13" fmla="*/ 60 h 94"/>
                  <a:gd name="T14" fmla="*/ 1 w 213"/>
                  <a:gd name="T15" fmla="*/ 62 h 94"/>
                  <a:gd name="T16" fmla="*/ 4 w 213"/>
                  <a:gd name="T17" fmla="*/ 63 h 94"/>
                  <a:gd name="T18" fmla="*/ 6 w 213"/>
                  <a:gd name="T19" fmla="*/ 64 h 94"/>
                  <a:gd name="T20" fmla="*/ 19 w 213"/>
                  <a:gd name="T21" fmla="*/ 71 h 94"/>
                  <a:gd name="T22" fmla="*/ 30 w 213"/>
                  <a:gd name="T23" fmla="*/ 81 h 94"/>
                  <a:gd name="T24" fmla="*/ 66 w 213"/>
                  <a:gd name="T25" fmla="*/ 93 h 94"/>
                  <a:gd name="T26" fmla="*/ 105 w 213"/>
                  <a:gd name="T27" fmla="*/ 88 h 94"/>
                  <a:gd name="T28" fmla="*/ 135 w 213"/>
                  <a:gd name="T29" fmla="*/ 80 h 94"/>
                  <a:gd name="T30" fmla="*/ 176 w 213"/>
                  <a:gd name="T31" fmla="*/ 55 h 94"/>
                  <a:gd name="T32" fmla="*/ 193 w 213"/>
                  <a:gd name="T33" fmla="*/ 42 h 94"/>
                  <a:gd name="T34" fmla="*/ 210 w 213"/>
                  <a:gd name="T35" fmla="*/ 33 h 94"/>
                  <a:gd name="T36" fmla="*/ 211 w 213"/>
                  <a:gd name="T37" fmla="*/ 32 h 94"/>
                  <a:gd name="T38" fmla="*/ 212 w 213"/>
                  <a:gd name="T39" fmla="*/ 31 h 94"/>
                  <a:gd name="T40" fmla="*/ 212 w 213"/>
                  <a:gd name="T41" fmla="*/ 28 h 94"/>
                  <a:gd name="T42" fmla="*/ 211 w 213"/>
                  <a:gd name="T43" fmla="*/ 25 h 94"/>
                  <a:gd name="T44" fmla="*/ 209 w 213"/>
                  <a:gd name="T45" fmla="*/ 23 h 94"/>
                  <a:gd name="T46" fmla="*/ 187 w 213"/>
                  <a:gd name="T47" fmla="*/ 16 h 94"/>
                  <a:gd name="T48" fmla="*/ 165 w 213"/>
                  <a:gd name="T49" fmla="*/ 14 h 94"/>
                  <a:gd name="T50" fmla="*/ 145 w 213"/>
                  <a:gd name="T51" fmla="*/ 8 h 94"/>
                  <a:gd name="T52" fmla="*/ 123 w 213"/>
                  <a:gd name="T53" fmla="*/ 3 h 94"/>
                  <a:gd name="T54" fmla="*/ 71 w 213"/>
                  <a:gd name="T55" fmla="*/ 4 h 94"/>
                  <a:gd name="T56" fmla="*/ 24 w 213"/>
                  <a:gd name="T57" fmla="*/ 2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13" h="94">
                    <a:moveTo>
                      <a:pt x="24" y="22"/>
                    </a:moveTo>
                    <a:cubicBezTo>
                      <a:pt x="19" y="25"/>
                      <a:pt x="14" y="29"/>
                      <a:pt x="8" y="33"/>
                    </a:cubicBezTo>
                    <a:cubicBezTo>
                      <a:pt x="6" y="34"/>
                      <a:pt x="3" y="36"/>
                      <a:pt x="2" y="39"/>
                    </a:cubicBezTo>
                    <a:cubicBezTo>
                      <a:pt x="1" y="41"/>
                      <a:pt x="0" y="44"/>
                      <a:pt x="0" y="46"/>
                    </a:cubicBezTo>
                    <a:cubicBezTo>
                      <a:pt x="0" y="48"/>
                      <a:pt x="1" y="51"/>
                      <a:pt x="0" y="53"/>
                    </a:cubicBezTo>
                    <a:cubicBezTo>
                      <a:pt x="0" y="54"/>
                      <a:pt x="0" y="56"/>
                      <a:pt x="0" y="58"/>
                    </a:cubicBezTo>
                    <a:cubicBezTo>
                      <a:pt x="0" y="58"/>
                      <a:pt x="0" y="59"/>
                      <a:pt x="0" y="60"/>
                    </a:cubicBezTo>
                    <a:cubicBezTo>
                      <a:pt x="0" y="61"/>
                      <a:pt x="0" y="61"/>
                      <a:pt x="1" y="62"/>
                    </a:cubicBezTo>
                    <a:cubicBezTo>
                      <a:pt x="2" y="63"/>
                      <a:pt x="3" y="63"/>
                      <a:pt x="4" y="63"/>
                    </a:cubicBezTo>
                    <a:cubicBezTo>
                      <a:pt x="4" y="64"/>
                      <a:pt x="5" y="64"/>
                      <a:pt x="6" y="64"/>
                    </a:cubicBezTo>
                    <a:cubicBezTo>
                      <a:pt x="11" y="65"/>
                      <a:pt x="15" y="68"/>
                      <a:pt x="19" y="71"/>
                    </a:cubicBezTo>
                    <a:cubicBezTo>
                      <a:pt x="23" y="75"/>
                      <a:pt x="26" y="78"/>
                      <a:pt x="30" y="81"/>
                    </a:cubicBezTo>
                    <a:cubicBezTo>
                      <a:pt x="40" y="90"/>
                      <a:pt x="53" y="93"/>
                      <a:pt x="66" y="93"/>
                    </a:cubicBezTo>
                    <a:cubicBezTo>
                      <a:pt x="80" y="94"/>
                      <a:pt x="93" y="91"/>
                      <a:pt x="105" y="88"/>
                    </a:cubicBezTo>
                    <a:cubicBezTo>
                      <a:pt x="116" y="86"/>
                      <a:pt x="126" y="83"/>
                      <a:pt x="135" y="80"/>
                    </a:cubicBezTo>
                    <a:cubicBezTo>
                      <a:pt x="150" y="74"/>
                      <a:pt x="164" y="66"/>
                      <a:pt x="176" y="55"/>
                    </a:cubicBezTo>
                    <a:cubicBezTo>
                      <a:pt x="181" y="51"/>
                      <a:pt x="187" y="46"/>
                      <a:pt x="193" y="42"/>
                    </a:cubicBezTo>
                    <a:cubicBezTo>
                      <a:pt x="198" y="38"/>
                      <a:pt x="204" y="36"/>
                      <a:pt x="210" y="33"/>
                    </a:cubicBezTo>
                    <a:cubicBezTo>
                      <a:pt x="210" y="33"/>
                      <a:pt x="211" y="32"/>
                      <a:pt x="211" y="32"/>
                    </a:cubicBezTo>
                    <a:cubicBezTo>
                      <a:pt x="211" y="31"/>
                      <a:pt x="212" y="31"/>
                      <a:pt x="212" y="31"/>
                    </a:cubicBezTo>
                    <a:cubicBezTo>
                      <a:pt x="213" y="30"/>
                      <a:pt x="213" y="29"/>
                      <a:pt x="212" y="28"/>
                    </a:cubicBezTo>
                    <a:cubicBezTo>
                      <a:pt x="212" y="27"/>
                      <a:pt x="211" y="26"/>
                      <a:pt x="211" y="25"/>
                    </a:cubicBezTo>
                    <a:cubicBezTo>
                      <a:pt x="210" y="24"/>
                      <a:pt x="209" y="24"/>
                      <a:pt x="209" y="23"/>
                    </a:cubicBezTo>
                    <a:cubicBezTo>
                      <a:pt x="203" y="18"/>
                      <a:pt x="195" y="16"/>
                      <a:pt x="187" y="16"/>
                    </a:cubicBezTo>
                    <a:cubicBezTo>
                      <a:pt x="180" y="15"/>
                      <a:pt x="172" y="15"/>
                      <a:pt x="165" y="14"/>
                    </a:cubicBezTo>
                    <a:cubicBezTo>
                      <a:pt x="158" y="13"/>
                      <a:pt x="151" y="10"/>
                      <a:pt x="145" y="8"/>
                    </a:cubicBezTo>
                    <a:cubicBezTo>
                      <a:pt x="137" y="6"/>
                      <a:pt x="130" y="4"/>
                      <a:pt x="123" y="3"/>
                    </a:cubicBezTo>
                    <a:cubicBezTo>
                      <a:pt x="106" y="0"/>
                      <a:pt x="88" y="1"/>
                      <a:pt x="71" y="4"/>
                    </a:cubicBezTo>
                    <a:cubicBezTo>
                      <a:pt x="54" y="8"/>
                      <a:pt x="38" y="14"/>
                      <a:pt x="24" y="22"/>
                    </a:cubicBezTo>
                    <a:close/>
                  </a:path>
                </a:pathLst>
              </a:custGeom>
              <a:solidFill>
                <a:srgbClr val="0973D1"/>
              </a:solidFill>
              <a:ln w="3492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39" name="Freeform 41"/>
              <p:cNvSpPr>
                <a:spLocks/>
              </p:cNvSpPr>
              <p:nvPr/>
            </p:nvSpPr>
            <p:spPr bwMode="auto">
              <a:xfrm>
                <a:off x="2836863" y="3457575"/>
                <a:ext cx="701675" cy="358775"/>
              </a:xfrm>
              <a:custGeom>
                <a:avLst/>
                <a:gdLst>
                  <a:gd name="T0" fmla="*/ 32 w 243"/>
                  <a:gd name="T1" fmla="*/ 40 h 124"/>
                  <a:gd name="T2" fmla="*/ 12 w 243"/>
                  <a:gd name="T3" fmla="*/ 59 h 124"/>
                  <a:gd name="T4" fmla="*/ 4 w 243"/>
                  <a:gd name="T5" fmla="*/ 73 h 124"/>
                  <a:gd name="T6" fmla="*/ 1 w 243"/>
                  <a:gd name="T7" fmla="*/ 85 h 124"/>
                  <a:gd name="T8" fmla="*/ 0 w 243"/>
                  <a:gd name="T9" fmla="*/ 90 h 124"/>
                  <a:gd name="T10" fmla="*/ 1 w 243"/>
                  <a:gd name="T11" fmla="*/ 92 h 124"/>
                  <a:gd name="T12" fmla="*/ 2 w 243"/>
                  <a:gd name="T13" fmla="*/ 94 h 124"/>
                  <a:gd name="T14" fmla="*/ 5 w 243"/>
                  <a:gd name="T15" fmla="*/ 96 h 124"/>
                  <a:gd name="T16" fmla="*/ 9 w 243"/>
                  <a:gd name="T17" fmla="*/ 96 h 124"/>
                  <a:gd name="T18" fmla="*/ 25 w 243"/>
                  <a:gd name="T19" fmla="*/ 103 h 124"/>
                  <a:gd name="T20" fmla="*/ 40 w 243"/>
                  <a:gd name="T21" fmla="*/ 113 h 124"/>
                  <a:gd name="T22" fmla="*/ 77 w 243"/>
                  <a:gd name="T23" fmla="*/ 124 h 124"/>
                  <a:gd name="T24" fmla="*/ 115 w 243"/>
                  <a:gd name="T25" fmla="*/ 120 h 124"/>
                  <a:gd name="T26" fmla="*/ 145 w 243"/>
                  <a:gd name="T27" fmla="*/ 112 h 124"/>
                  <a:gd name="T28" fmla="*/ 186 w 243"/>
                  <a:gd name="T29" fmla="*/ 87 h 124"/>
                  <a:gd name="T30" fmla="*/ 203 w 243"/>
                  <a:gd name="T31" fmla="*/ 74 h 124"/>
                  <a:gd name="T32" fmla="*/ 208 w 243"/>
                  <a:gd name="T33" fmla="*/ 69 h 124"/>
                  <a:gd name="T34" fmla="*/ 214 w 243"/>
                  <a:gd name="T35" fmla="*/ 65 h 124"/>
                  <a:gd name="T36" fmla="*/ 225 w 243"/>
                  <a:gd name="T37" fmla="*/ 65 h 124"/>
                  <a:gd name="T38" fmla="*/ 234 w 243"/>
                  <a:gd name="T39" fmla="*/ 66 h 124"/>
                  <a:gd name="T40" fmla="*/ 238 w 243"/>
                  <a:gd name="T41" fmla="*/ 65 h 124"/>
                  <a:gd name="T42" fmla="*/ 241 w 243"/>
                  <a:gd name="T43" fmla="*/ 63 h 124"/>
                  <a:gd name="T44" fmla="*/ 243 w 243"/>
                  <a:gd name="T45" fmla="*/ 57 h 124"/>
                  <a:gd name="T46" fmla="*/ 242 w 243"/>
                  <a:gd name="T47" fmla="*/ 52 h 124"/>
                  <a:gd name="T48" fmla="*/ 233 w 243"/>
                  <a:gd name="T49" fmla="*/ 45 h 124"/>
                  <a:gd name="T50" fmla="*/ 219 w 243"/>
                  <a:gd name="T51" fmla="*/ 41 h 124"/>
                  <a:gd name="T52" fmla="*/ 175 w 243"/>
                  <a:gd name="T53" fmla="*/ 25 h 124"/>
                  <a:gd name="T54" fmla="*/ 155 w 243"/>
                  <a:gd name="T55" fmla="*/ 14 h 124"/>
                  <a:gd name="T56" fmla="*/ 133 w 243"/>
                  <a:gd name="T57" fmla="*/ 5 h 124"/>
                  <a:gd name="T58" fmla="*/ 81 w 243"/>
                  <a:gd name="T59" fmla="*/ 7 h 124"/>
                  <a:gd name="T60" fmla="*/ 32 w 243"/>
                  <a:gd name="T61" fmla="*/ 4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43" h="124">
                    <a:moveTo>
                      <a:pt x="32" y="40"/>
                    </a:moveTo>
                    <a:cubicBezTo>
                      <a:pt x="25" y="45"/>
                      <a:pt x="18" y="52"/>
                      <a:pt x="12" y="59"/>
                    </a:cubicBezTo>
                    <a:cubicBezTo>
                      <a:pt x="8" y="63"/>
                      <a:pt x="5" y="67"/>
                      <a:pt x="4" y="73"/>
                    </a:cubicBezTo>
                    <a:cubicBezTo>
                      <a:pt x="2" y="77"/>
                      <a:pt x="2" y="81"/>
                      <a:pt x="1" y="85"/>
                    </a:cubicBezTo>
                    <a:cubicBezTo>
                      <a:pt x="1" y="86"/>
                      <a:pt x="0" y="88"/>
                      <a:pt x="0" y="90"/>
                    </a:cubicBezTo>
                    <a:cubicBezTo>
                      <a:pt x="0" y="90"/>
                      <a:pt x="0" y="91"/>
                      <a:pt x="1" y="92"/>
                    </a:cubicBezTo>
                    <a:cubicBezTo>
                      <a:pt x="1" y="93"/>
                      <a:pt x="1" y="93"/>
                      <a:pt x="2" y="94"/>
                    </a:cubicBezTo>
                    <a:cubicBezTo>
                      <a:pt x="3" y="95"/>
                      <a:pt x="4" y="95"/>
                      <a:pt x="5" y="96"/>
                    </a:cubicBezTo>
                    <a:cubicBezTo>
                      <a:pt x="7" y="96"/>
                      <a:pt x="8" y="96"/>
                      <a:pt x="9" y="96"/>
                    </a:cubicBezTo>
                    <a:cubicBezTo>
                      <a:pt x="15" y="97"/>
                      <a:pt x="20" y="100"/>
                      <a:pt x="25" y="103"/>
                    </a:cubicBezTo>
                    <a:cubicBezTo>
                      <a:pt x="30" y="106"/>
                      <a:pt x="35" y="110"/>
                      <a:pt x="40" y="113"/>
                    </a:cubicBezTo>
                    <a:cubicBezTo>
                      <a:pt x="51" y="120"/>
                      <a:pt x="64" y="123"/>
                      <a:pt x="77" y="124"/>
                    </a:cubicBezTo>
                    <a:cubicBezTo>
                      <a:pt x="90" y="124"/>
                      <a:pt x="103" y="122"/>
                      <a:pt x="115" y="120"/>
                    </a:cubicBezTo>
                    <a:cubicBezTo>
                      <a:pt x="126" y="118"/>
                      <a:pt x="136" y="115"/>
                      <a:pt x="145" y="112"/>
                    </a:cubicBezTo>
                    <a:cubicBezTo>
                      <a:pt x="160" y="106"/>
                      <a:pt x="173" y="97"/>
                      <a:pt x="186" y="87"/>
                    </a:cubicBezTo>
                    <a:cubicBezTo>
                      <a:pt x="192" y="83"/>
                      <a:pt x="198" y="79"/>
                      <a:pt x="203" y="74"/>
                    </a:cubicBezTo>
                    <a:cubicBezTo>
                      <a:pt x="204" y="72"/>
                      <a:pt x="206" y="70"/>
                      <a:pt x="208" y="69"/>
                    </a:cubicBezTo>
                    <a:cubicBezTo>
                      <a:pt x="210" y="67"/>
                      <a:pt x="212" y="66"/>
                      <a:pt x="214" y="65"/>
                    </a:cubicBezTo>
                    <a:cubicBezTo>
                      <a:pt x="218" y="64"/>
                      <a:pt x="222" y="64"/>
                      <a:pt x="225" y="65"/>
                    </a:cubicBezTo>
                    <a:cubicBezTo>
                      <a:pt x="228" y="65"/>
                      <a:pt x="231" y="66"/>
                      <a:pt x="234" y="66"/>
                    </a:cubicBezTo>
                    <a:cubicBezTo>
                      <a:pt x="235" y="66"/>
                      <a:pt x="237" y="65"/>
                      <a:pt x="238" y="65"/>
                    </a:cubicBezTo>
                    <a:cubicBezTo>
                      <a:pt x="239" y="64"/>
                      <a:pt x="240" y="64"/>
                      <a:pt x="241" y="63"/>
                    </a:cubicBezTo>
                    <a:cubicBezTo>
                      <a:pt x="242" y="61"/>
                      <a:pt x="243" y="59"/>
                      <a:pt x="243" y="57"/>
                    </a:cubicBezTo>
                    <a:cubicBezTo>
                      <a:pt x="243" y="56"/>
                      <a:pt x="242" y="54"/>
                      <a:pt x="242" y="52"/>
                    </a:cubicBezTo>
                    <a:cubicBezTo>
                      <a:pt x="240" y="49"/>
                      <a:pt x="236" y="47"/>
                      <a:pt x="233" y="45"/>
                    </a:cubicBezTo>
                    <a:cubicBezTo>
                      <a:pt x="228" y="43"/>
                      <a:pt x="223" y="42"/>
                      <a:pt x="219" y="41"/>
                    </a:cubicBezTo>
                    <a:cubicBezTo>
                      <a:pt x="203" y="37"/>
                      <a:pt x="189" y="32"/>
                      <a:pt x="175" y="25"/>
                    </a:cubicBezTo>
                    <a:cubicBezTo>
                      <a:pt x="168" y="22"/>
                      <a:pt x="161" y="18"/>
                      <a:pt x="155" y="14"/>
                    </a:cubicBezTo>
                    <a:cubicBezTo>
                      <a:pt x="148" y="11"/>
                      <a:pt x="140" y="7"/>
                      <a:pt x="133" y="5"/>
                    </a:cubicBezTo>
                    <a:cubicBezTo>
                      <a:pt x="116" y="0"/>
                      <a:pt x="97" y="1"/>
                      <a:pt x="81" y="7"/>
                    </a:cubicBezTo>
                    <a:cubicBezTo>
                      <a:pt x="62" y="13"/>
                      <a:pt x="45" y="25"/>
                      <a:pt x="32" y="4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40" name="Freeform 42"/>
              <p:cNvSpPr>
                <a:spLocks noEditPoints="1"/>
              </p:cNvSpPr>
              <p:nvPr/>
            </p:nvSpPr>
            <p:spPr bwMode="auto">
              <a:xfrm>
                <a:off x="3021013" y="3502025"/>
                <a:ext cx="228600" cy="33338"/>
              </a:xfrm>
              <a:custGeom>
                <a:avLst/>
                <a:gdLst>
                  <a:gd name="T0" fmla="*/ 62 w 79"/>
                  <a:gd name="T1" fmla="*/ 0 h 12"/>
                  <a:gd name="T2" fmla="*/ 57 w 79"/>
                  <a:gd name="T3" fmla="*/ 1 h 12"/>
                  <a:gd name="T4" fmla="*/ 55 w 79"/>
                  <a:gd name="T5" fmla="*/ 4 h 12"/>
                  <a:gd name="T6" fmla="*/ 64 w 79"/>
                  <a:gd name="T7" fmla="*/ 8 h 12"/>
                  <a:gd name="T8" fmla="*/ 71 w 79"/>
                  <a:gd name="T9" fmla="*/ 12 h 12"/>
                  <a:gd name="T10" fmla="*/ 78 w 79"/>
                  <a:gd name="T11" fmla="*/ 8 h 12"/>
                  <a:gd name="T12" fmla="*/ 70 w 79"/>
                  <a:gd name="T13" fmla="*/ 1 h 12"/>
                  <a:gd name="T14" fmla="*/ 62 w 79"/>
                  <a:gd name="T15" fmla="*/ 0 h 12"/>
                  <a:gd name="T16" fmla="*/ 8 w 79"/>
                  <a:gd name="T17" fmla="*/ 2 h 12"/>
                  <a:gd name="T18" fmla="*/ 2 w 79"/>
                  <a:gd name="T19" fmla="*/ 10 h 12"/>
                  <a:gd name="T20" fmla="*/ 5 w 79"/>
                  <a:gd name="T21" fmla="*/ 12 h 12"/>
                  <a:gd name="T22" fmla="*/ 10 w 79"/>
                  <a:gd name="T23" fmla="*/ 6 h 12"/>
                  <a:gd name="T24" fmla="*/ 9 w 79"/>
                  <a:gd name="T25" fmla="*/ 2 h 12"/>
                  <a:gd name="T26" fmla="*/ 8 w 79"/>
                  <a:gd name="T2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9" h="12">
                    <a:moveTo>
                      <a:pt x="62" y="0"/>
                    </a:moveTo>
                    <a:cubicBezTo>
                      <a:pt x="60" y="0"/>
                      <a:pt x="58" y="0"/>
                      <a:pt x="57" y="1"/>
                    </a:cubicBezTo>
                    <a:cubicBezTo>
                      <a:pt x="56" y="2"/>
                      <a:pt x="55" y="3"/>
                      <a:pt x="55" y="4"/>
                    </a:cubicBezTo>
                    <a:cubicBezTo>
                      <a:pt x="56" y="7"/>
                      <a:pt x="61" y="6"/>
                      <a:pt x="64" y="8"/>
                    </a:cubicBezTo>
                    <a:cubicBezTo>
                      <a:pt x="66" y="9"/>
                      <a:pt x="68" y="12"/>
                      <a:pt x="71" y="12"/>
                    </a:cubicBezTo>
                    <a:cubicBezTo>
                      <a:pt x="74" y="12"/>
                      <a:pt x="78" y="11"/>
                      <a:pt x="78" y="8"/>
                    </a:cubicBezTo>
                    <a:cubicBezTo>
                      <a:pt x="79" y="5"/>
                      <a:pt x="74" y="3"/>
                      <a:pt x="70" y="1"/>
                    </a:cubicBezTo>
                    <a:cubicBezTo>
                      <a:pt x="68" y="0"/>
                      <a:pt x="65" y="0"/>
                      <a:pt x="62" y="0"/>
                    </a:cubicBezTo>
                    <a:close/>
                    <a:moveTo>
                      <a:pt x="8" y="2"/>
                    </a:moveTo>
                    <a:cubicBezTo>
                      <a:pt x="5" y="2"/>
                      <a:pt x="0" y="8"/>
                      <a:pt x="2" y="10"/>
                    </a:cubicBezTo>
                    <a:cubicBezTo>
                      <a:pt x="2" y="11"/>
                      <a:pt x="4" y="12"/>
                      <a:pt x="5" y="12"/>
                    </a:cubicBezTo>
                    <a:cubicBezTo>
                      <a:pt x="7" y="11"/>
                      <a:pt x="8" y="8"/>
                      <a:pt x="10" y="6"/>
                    </a:cubicBezTo>
                    <a:cubicBezTo>
                      <a:pt x="11" y="6"/>
                      <a:pt x="11" y="3"/>
                      <a:pt x="9" y="2"/>
                    </a:cubicBezTo>
                    <a:cubicBezTo>
                      <a:pt x="9" y="2"/>
                      <a:pt x="9" y="2"/>
                      <a:pt x="8" y="2"/>
                    </a:cubicBezTo>
                    <a:close/>
                  </a:path>
                </a:pathLst>
              </a:custGeom>
              <a:solidFill>
                <a:srgbClr val="0973D1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</p:grpSp>
      </p:grpSp>
      <p:sp>
        <p:nvSpPr>
          <p:cNvPr id="6" name="Rectangle 5"/>
          <p:cNvSpPr/>
          <p:nvPr/>
        </p:nvSpPr>
        <p:spPr bwMode="auto">
          <a:xfrm>
            <a:off x="7246189" y="5658492"/>
            <a:ext cx="672319" cy="313099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en-US" sz="1568" dirty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</a:rPr>
              <a:t>NEW</a:t>
            </a:r>
          </a:p>
        </p:txBody>
      </p:sp>
      <p:sp>
        <p:nvSpPr>
          <p:cNvPr id="216" name="Freeform 13"/>
          <p:cNvSpPr>
            <a:spLocks noChangeAspect="1" noEditPoints="1"/>
          </p:cNvSpPr>
          <p:nvPr/>
        </p:nvSpPr>
        <p:spPr bwMode="black">
          <a:xfrm>
            <a:off x="7094587" y="5926431"/>
            <a:ext cx="485414" cy="486021"/>
          </a:xfrm>
          <a:custGeom>
            <a:avLst/>
            <a:gdLst>
              <a:gd name="T0" fmla="*/ 600 w 800"/>
              <a:gd name="T1" fmla="*/ 0 h 801"/>
              <a:gd name="T2" fmla="*/ 283 w 800"/>
              <a:gd name="T3" fmla="*/ 317 h 801"/>
              <a:gd name="T4" fmla="*/ 81 w 800"/>
              <a:gd name="T5" fmla="*/ 159 h 801"/>
              <a:gd name="T6" fmla="*/ 0 w 800"/>
              <a:gd name="T7" fmla="*/ 200 h 801"/>
              <a:gd name="T8" fmla="*/ 0 w 800"/>
              <a:gd name="T9" fmla="*/ 600 h 801"/>
              <a:gd name="T10" fmla="*/ 81 w 800"/>
              <a:gd name="T11" fmla="*/ 641 h 801"/>
              <a:gd name="T12" fmla="*/ 283 w 800"/>
              <a:gd name="T13" fmla="*/ 484 h 801"/>
              <a:gd name="T14" fmla="*/ 600 w 800"/>
              <a:gd name="T15" fmla="*/ 801 h 801"/>
              <a:gd name="T16" fmla="*/ 800 w 800"/>
              <a:gd name="T17" fmla="*/ 722 h 801"/>
              <a:gd name="T18" fmla="*/ 800 w 800"/>
              <a:gd name="T19" fmla="*/ 78 h 801"/>
              <a:gd name="T20" fmla="*/ 600 w 800"/>
              <a:gd name="T21" fmla="*/ 0 h 801"/>
              <a:gd name="T22" fmla="*/ 81 w 800"/>
              <a:gd name="T23" fmla="*/ 519 h 801"/>
              <a:gd name="T24" fmla="*/ 81 w 800"/>
              <a:gd name="T25" fmla="*/ 281 h 801"/>
              <a:gd name="T26" fmla="*/ 200 w 800"/>
              <a:gd name="T27" fmla="*/ 400 h 801"/>
              <a:gd name="T28" fmla="*/ 81 w 800"/>
              <a:gd name="T29" fmla="*/ 519 h 801"/>
              <a:gd name="T30" fmla="*/ 388 w 800"/>
              <a:gd name="T31" fmla="*/ 400 h 801"/>
              <a:gd name="T32" fmla="*/ 600 w 800"/>
              <a:gd name="T33" fmla="*/ 236 h 801"/>
              <a:gd name="T34" fmla="*/ 600 w 800"/>
              <a:gd name="T35" fmla="*/ 565 h 801"/>
              <a:gd name="T36" fmla="*/ 388 w 800"/>
              <a:gd name="T37" fmla="*/ 400 h 8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800" h="801">
                <a:moveTo>
                  <a:pt x="600" y="0"/>
                </a:moveTo>
                <a:lnTo>
                  <a:pt x="283" y="317"/>
                </a:lnTo>
                <a:lnTo>
                  <a:pt x="81" y="159"/>
                </a:lnTo>
                <a:lnTo>
                  <a:pt x="0" y="200"/>
                </a:lnTo>
                <a:lnTo>
                  <a:pt x="0" y="600"/>
                </a:lnTo>
                <a:lnTo>
                  <a:pt x="81" y="641"/>
                </a:lnTo>
                <a:lnTo>
                  <a:pt x="283" y="484"/>
                </a:lnTo>
                <a:lnTo>
                  <a:pt x="600" y="801"/>
                </a:lnTo>
                <a:lnTo>
                  <a:pt x="800" y="722"/>
                </a:lnTo>
                <a:lnTo>
                  <a:pt x="800" y="78"/>
                </a:lnTo>
                <a:lnTo>
                  <a:pt x="600" y="0"/>
                </a:lnTo>
                <a:close/>
                <a:moveTo>
                  <a:pt x="81" y="519"/>
                </a:moveTo>
                <a:lnTo>
                  <a:pt x="81" y="281"/>
                </a:lnTo>
                <a:lnTo>
                  <a:pt x="200" y="400"/>
                </a:lnTo>
                <a:lnTo>
                  <a:pt x="81" y="519"/>
                </a:lnTo>
                <a:close/>
                <a:moveTo>
                  <a:pt x="388" y="400"/>
                </a:moveTo>
                <a:lnTo>
                  <a:pt x="600" y="236"/>
                </a:lnTo>
                <a:lnTo>
                  <a:pt x="600" y="565"/>
                </a:lnTo>
                <a:lnTo>
                  <a:pt x="388" y="400"/>
                </a:lnTo>
                <a:close/>
              </a:path>
            </a:pathLst>
          </a:cu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defTabSz="914192">
              <a:defRPr/>
            </a:pPr>
            <a:endParaRPr lang="en-US" sz="1765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3144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1818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E5619E8A-AB2D-48E6-A279-FD4BFCCF91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6600" y="1034386"/>
            <a:ext cx="3113411" cy="4213662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4712171" y="360686"/>
            <a:ext cx="5295318" cy="1646502"/>
          </a:xfrm>
          <a:prstGeom prst="rect">
            <a:avLst/>
          </a:prstGeom>
        </p:spPr>
        <p:txBody>
          <a:bodyPr lIns="146263" tIns="9142" rIns="146263" bIns="9142" anchor="b" anchorCtr="0"/>
          <a:lstStyle>
            <a:lvl1pPr marL="0" indent="0" algn="l" defTabSz="914367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6000" b="0" kern="1200" cap="none" spc="-100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016">
              <a:defRPr/>
            </a:pPr>
            <a:r>
              <a:rPr sz="4400" dirty="0">
                <a:solidFill>
                  <a:srgbClr val="0078D7"/>
                </a:solidFill>
                <a:cs typeface="Segoe UI Semibold" panose="020B0702040204020203" pitchFamily="34" charset="0"/>
              </a:rPr>
              <a:t>SQL Server </a:t>
            </a:r>
            <a:r>
              <a:rPr sz="4400" dirty="0">
                <a:solidFill>
                  <a:srgbClr val="FFFFFF"/>
                </a:solidFill>
                <a:cs typeface="Segoe UI Semibold" panose="020B0702040204020203" pitchFamily="34" charset="0"/>
              </a:rPr>
              <a:t>2017</a:t>
            </a:r>
          </a:p>
        </p:txBody>
      </p:sp>
      <p:sp>
        <p:nvSpPr>
          <p:cNvPr id="7" name="Rectangle 6"/>
          <p:cNvSpPr/>
          <p:nvPr/>
        </p:nvSpPr>
        <p:spPr>
          <a:xfrm>
            <a:off x="4712171" y="2365730"/>
            <a:ext cx="7436132" cy="1570720"/>
          </a:xfrm>
          <a:prstGeom prst="rect">
            <a:avLst/>
          </a:prstGeom>
        </p:spPr>
        <p:txBody>
          <a:bodyPr wrap="square" lIns="146263">
            <a:spAutoFit/>
          </a:bodyPr>
          <a:lstStyle/>
          <a:p>
            <a:pPr defTabSz="931969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/>
            </a:pPr>
            <a:r>
              <a:rPr lang="en-US" kern="0" dirty="0">
                <a:ln w="3175">
                  <a:noFill/>
                </a:ln>
                <a:solidFill>
                  <a:srgbClr val="FFFFFF"/>
                </a:solidFill>
                <a:cs typeface="Segoe UI Semibold" panose="020B0702040204020203" pitchFamily="34" charset="0"/>
                <a:sym typeface="Wingdings" panose="05000000000000000000" pitchFamily="2" charset="2"/>
              </a:rPr>
              <a:t>Run anywhere and build apps using the language of your choice</a:t>
            </a:r>
          </a:p>
          <a:p>
            <a:pPr defTabSz="931969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/>
            </a:pPr>
            <a:r>
              <a:rPr lang="en-US" kern="0" dirty="0">
                <a:ln w="3175">
                  <a:noFill/>
                </a:ln>
                <a:solidFill>
                  <a:srgbClr val="FFFFFF"/>
                </a:solidFill>
                <a:cs typeface="Segoe UI Semibold" panose="020B0702040204020203" pitchFamily="34" charset="0"/>
              </a:rPr>
              <a:t>Analyze complex relationships with support for graph objects &amp; queries</a:t>
            </a:r>
          </a:p>
          <a:p>
            <a:pPr defTabSz="931969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/>
            </a:pPr>
            <a:r>
              <a:rPr lang="en-US" kern="0" dirty="0">
                <a:ln w="3175">
                  <a:noFill/>
                </a:ln>
                <a:solidFill>
                  <a:srgbClr val="FFFFFF"/>
                </a:solidFill>
                <a:cs typeface="Segoe UI Semibold" panose="020B0702040204020203" pitchFamily="34" charset="0"/>
                <a:sym typeface="Wingdings" panose="05000000000000000000" pitchFamily="2" charset="2"/>
              </a:rPr>
              <a:t>Advanced Machine Learning with R &amp; Python</a:t>
            </a:r>
          </a:p>
          <a:p>
            <a:pPr defTabSz="931969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/>
            </a:pPr>
            <a:r>
              <a:rPr lang="en-US" kern="0" dirty="0">
                <a:ln w="3175">
                  <a:noFill/>
                </a:ln>
                <a:solidFill>
                  <a:srgbClr val="FFFFFF"/>
                </a:solidFill>
                <a:cs typeface="Segoe UI Semibold" panose="020B0702040204020203" pitchFamily="34" charset="0"/>
                <a:sym typeface="Wingdings" panose="05000000000000000000" pitchFamily="2" charset="2"/>
              </a:rPr>
              <a:t>Unparalleled performance with adaptive query processing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1731" y="5723528"/>
            <a:ext cx="12188542" cy="113350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 Semibold" panose="020B0702040204020203" pitchFamily="34" charset="0"/>
              </a:rPr>
              <a:t>Industry-leading, most secure data platform with built-in intelligence for all your data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1B880BBB-9D19-46CF-AE92-B93CB86E8B85}"/>
              </a:ext>
            </a:extLst>
          </p:cNvPr>
          <p:cNvSpPr txBox="1"/>
          <p:nvPr/>
        </p:nvSpPr>
        <p:spPr>
          <a:xfrm>
            <a:off x="1362681" y="3141217"/>
            <a:ext cx="2661248" cy="1425445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spAutoFit/>
          </a:bodyPr>
          <a:lstStyle/>
          <a:p>
            <a:pPr algn="ctr"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4000" dirty="0">
                <a:solidFill>
                  <a:srgbClr val="D2D2D2">
                    <a:lumMod val="25000"/>
                  </a:srgbClr>
                </a:solidFill>
                <a:cs typeface="Segoe UI Semibold" panose="020B0702040204020203" pitchFamily="34" charset="0"/>
              </a:rPr>
              <a:t>SQL Server</a:t>
            </a:r>
            <a:br>
              <a:rPr lang="en-US" sz="4000" dirty="0">
                <a:solidFill>
                  <a:srgbClr val="D2D2D2">
                    <a:lumMod val="25000"/>
                  </a:srgbClr>
                </a:solidFill>
                <a:cs typeface="Segoe UI Semibold" panose="020B0702040204020203" pitchFamily="34" charset="0"/>
              </a:rPr>
            </a:br>
            <a:r>
              <a:rPr lang="en-US" sz="4000" dirty="0">
                <a:solidFill>
                  <a:srgbClr val="D2D2D2">
                    <a:lumMod val="25000"/>
                  </a:srgbClr>
                </a:solidFill>
                <a:cs typeface="Segoe UI Semibold" panose="020B0702040204020203" pitchFamily="34" charset="0"/>
              </a:rPr>
              <a:t>2017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28098FA3-52DF-4F8E-B72B-F9B40BB6040A}"/>
              </a:ext>
            </a:extLst>
          </p:cNvPr>
          <p:cNvGrpSpPr/>
          <p:nvPr/>
        </p:nvGrpSpPr>
        <p:grpSpPr>
          <a:xfrm>
            <a:off x="4936340" y="4275244"/>
            <a:ext cx="2319321" cy="653491"/>
            <a:chOff x="5118714" y="4441138"/>
            <a:chExt cx="3083586" cy="868830"/>
          </a:xfrm>
        </p:grpSpPr>
        <p:pic>
          <p:nvPicPr>
            <p:cNvPr id="46" name="Picture 6" descr="Image result for docker logo png"/>
            <p:cNvPicPr>
              <a:picLocks noChangeAspect="1" noChangeArrowheads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7038"/>
            <a:stretch/>
          </p:blipFill>
          <p:spPr bwMode="auto">
            <a:xfrm>
              <a:off x="7222656" y="4501038"/>
              <a:ext cx="979644" cy="6519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8" descr="Image result for linux logo png"/>
            <p:cNvPicPr>
              <a:picLocks noChangeAspect="1" noChangeArrowheads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30741" y="4441138"/>
              <a:ext cx="786171" cy="868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10" descr="Image result for azure logo png"/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18714" y="4498886"/>
              <a:ext cx="734251" cy="7342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4311549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6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50"/>
                                  </p:stCondLst>
                                  <p:childTnLst>
                                    <p:animMotion origin="layout" path="M -0.05547 0.00023 L 4.16667E-6 0.00023 " pathEditMode="relative" rAng="0" ptsTypes="AA">
                                      <p:cBhvr>
                                        <p:cTn id="9" dur="8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73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6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5547 0.00023 L 3.75E-6 0.00023 " pathEditMode="relative" rAng="0" ptsTypes="AA">
                                      <p:cBhvr>
                                        <p:cTn id="14" dur="8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73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6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550"/>
                                  </p:stCondLst>
                                  <p:childTnLst>
                                    <p:animMotion origin="layout" path="M -0.05547 0.00023 L 6.25E-7 0.00023 " pathEditMode="relative" rAng="0" ptsTypes="AA">
                                      <p:cBhvr>
                                        <p:cTn id="19" dur="8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7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350"/>
                            </p:stCondLst>
                            <p:childTnLst>
                              <p:par>
                                <p:cTn id="2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5" grpId="1"/>
      <p:bldP spid="7" grpId="0"/>
      <p:bldP spid="7" grpId="1"/>
      <p:bldP spid="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7692329" y="1889415"/>
            <a:ext cx="4081942" cy="4576268"/>
          </a:xfrm>
        </p:spPr>
        <p:txBody>
          <a:bodyPr/>
          <a:lstStyle/>
          <a:p>
            <a:pPr lvl="0"/>
            <a:r>
              <a:rPr lang="en-US" b="1" dirty="0">
                <a:solidFill>
                  <a:schemeClr val="accent1"/>
                </a:solidFill>
                <a:latin typeface="+mn-lt"/>
              </a:rPr>
              <a:t>Linux distributions </a:t>
            </a:r>
            <a:r>
              <a:rPr lang="en-US" dirty="0"/>
              <a:t>including </a:t>
            </a:r>
            <a:r>
              <a:rPr lang="en-US" dirty="0" err="1"/>
              <a:t>RedHat</a:t>
            </a:r>
            <a:r>
              <a:rPr lang="en-US" dirty="0"/>
              <a:t> Enterprise Linux (RHEL), Ubuntu, and SUSE Enterprise Linux (SLES) </a:t>
            </a:r>
          </a:p>
          <a:p>
            <a:pPr lvl="0"/>
            <a:r>
              <a:rPr lang="en-US" b="1" dirty="0">
                <a:solidFill>
                  <a:schemeClr val="accent1"/>
                </a:solidFill>
                <a:latin typeface="+mn-lt"/>
              </a:rPr>
              <a:t>Docker:</a:t>
            </a:r>
            <a:r>
              <a:rPr lang="en-US" dirty="0"/>
              <a:t> Windows &amp; Linux containers</a:t>
            </a:r>
          </a:p>
          <a:p>
            <a:pPr lvl="0"/>
            <a:r>
              <a:rPr lang="en-US" b="1" dirty="0">
                <a:solidFill>
                  <a:schemeClr val="accent1"/>
                </a:solidFill>
                <a:latin typeface="+mn-lt"/>
              </a:rPr>
              <a:t>Windows Server / Windows 10</a:t>
            </a:r>
          </a:p>
          <a:p>
            <a:pPr lvl="0"/>
            <a:r>
              <a:rPr lang="en-US" b="1" dirty="0">
                <a:solidFill>
                  <a:schemeClr val="accent1"/>
                </a:solidFill>
                <a:latin typeface="+mn-lt"/>
              </a:rPr>
              <a:t>Package-based installation, </a:t>
            </a:r>
            <a:r>
              <a:rPr lang="en-US" dirty="0"/>
              <a:t>yum install, app get, and mo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of SQL Server on the platform of your choice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4163458" y="1942769"/>
            <a:ext cx="2589535" cy="459818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37121" tIns="274242" rIns="91414" bIns="137121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012">
              <a:defRPr/>
            </a:pPr>
            <a:endParaRPr lang="en-US" sz="1400" kern="0" dirty="0">
              <a:solidFill>
                <a:prstClr val="white"/>
              </a:solidFill>
              <a:latin typeface="Segoe UI Semilight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4845616" y="2140873"/>
            <a:ext cx="1118289" cy="1333485"/>
            <a:chOff x="1897166" y="403225"/>
            <a:chExt cx="5787203" cy="6900842"/>
          </a:xfrm>
        </p:grpSpPr>
        <p:sp>
          <p:nvSpPr>
            <p:cNvPr id="41" name="Freeform 5"/>
            <p:cNvSpPr>
              <a:spLocks/>
            </p:cNvSpPr>
            <p:nvPr/>
          </p:nvSpPr>
          <p:spPr bwMode="auto">
            <a:xfrm>
              <a:off x="2871643" y="1755551"/>
              <a:ext cx="3858136" cy="5130885"/>
            </a:xfrm>
            <a:custGeom>
              <a:avLst/>
              <a:gdLst>
                <a:gd name="T0" fmla="*/ 568 w 668"/>
                <a:gd name="T1" fmla="*/ 180 h 887"/>
                <a:gd name="T2" fmla="*/ 609 w 668"/>
                <a:gd name="T3" fmla="*/ 265 h 887"/>
                <a:gd name="T4" fmla="*/ 660 w 668"/>
                <a:gd name="T5" fmla="*/ 437 h 887"/>
                <a:gd name="T6" fmla="*/ 646 w 668"/>
                <a:gd name="T7" fmla="*/ 615 h 887"/>
                <a:gd name="T8" fmla="*/ 536 w 668"/>
                <a:gd name="T9" fmla="*/ 784 h 887"/>
                <a:gd name="T10" fmla="*/ 324 w 668"/>
                <a:gd name="T11" fmla="*/ 885 h 887"/>
                <a:gd name="T12" fmla="*/ 173 w 668"/>
                <a:gd name="T13" fmla="*/ 848 h 887"/>
                <a:gd name="T14" fmla="*/ 71 w 668"/>
                <a:gd name="T15" fmla="*/ 767 h 887"/>
                <a:gd name="T16" fmla="*/ 12 w 668"/>
                <a:gd name="T17" fmla="*/ 650 h 887"/>
                <a:gd name="T18" fmla="*/ 23 w 668"/>
                <a:gd name="T19" fmla="*/ 491 h 887"/>
                <a:gd name="T20" fmla="*/ 69 w 668"/>
                <a:gd name="T21" fmla="*/ 384 h 887"/>
                <a:gd name="T22" fmla="*/ 112 w 668"/>
                <a:gd name="T23" fmla="*/ 265 h 887"/>
                <a:gd name="T24" fmla="*/ 171 w 668"/>
                <a:gd name="T25" fmla="*/ 167 h 887"/>
                <a:gd name="T26" fmla="*/ 189 w 668"/>
                <a:gd name="T27" fmla="*/ 101 h 887"/>
                <a:gd name="T28" fmla="*/ 218 w 668"/>
                <a:gd name="T29" fmla="*/ 39 h 887"/>
                <a:gd name="T30" fmla="*/ 290 w 668"/>
                <a:gd name="T31" fmla="*/ 4 h 887"/>
                <a:gd name="T32" fmla="*/ 372 w 668"/>
                <a:gd name="T33" fmla="*/ 11 h 887"/>
                <a:gd name="T34" fmla="*/ 435 w 668"/>
                <a:gd name="T35" fmla="*/ 29 h 887"/>
                <a:gd name="T36" fmla="*/ 486 w 668"/>
                <a:gd name="T37" fmla="*/ 54 h 887"/>
                <a:gd name="T38" fmla="*/ 535 w 668"/>
                <a:gd name="T39" fmla="*/ 111 h 887"/>
                <a:gd name="T40" fmla="*/ 568 w 668"/>
                <a:gd name="T41" fmla="*/ 180 h 8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68" h="887">
                  <a:moveTo>
                    <a:pt x="568" y="180"/>
                  </a:moveTo>
                  <a:cubicBezTo>
                    <a:pt x="581" y="209"/>
                    <a:pt x="596" y="237"/>
                    <a:pt x="609" y="265"/>
                  </a:cubicBezTo>
                  <a:cubicBezTo>
                    <a:pt x="633" y="320"/>
                    <a:pt x="652" y="377"/>
                    <a:pt x="660" y="437"/>
                  </a:cubicBezTo>
                  <a:cubicBezTo>
                    <a:pt x="668" y="496"/>
                    <a:pt x="665" y="558"/>
                    <a:pt x="646" y="615"/>
                  </a:cubicBezTo>
                  <a:cubicBezTo>
                    <a:pt x="625" y="679"/>
                    <a:pt x="585" y="737"/>
                    <a:pt x="536" y="784"/>
                  </a:cubicBezTo>
                  <a:cubicBezTo>
                    <a:pt x="478" y="839"/>
                    <a:pt x="404" y="882"/>
                    <a:pt x="324" y="885"/>
                  </a:cubicBezTo>
                  <a:cubicBezTo>
                    <a:pt x="272" y="887"/>
                    <a:pt x="220" y="872"/>
                    <a:pt x="173" y="848"/>
                  </a:cubicBezTo>
                  <a:cubicBezTo>
                    <a:pt x="134" y="828"/>
                    <a:pt x="99" y="800"/>
                    <a:pt x="71" y="767"/>
                  </a:cubicBezTo>
                  <a:cubicBezTo>
                    <a:pt x="42" y="733"/>
                    <a:pt x="21" y="693"/>
                    <a:pt x="12" y="650"/>
                  </a:cubicBezTo>
                  <a:cubicBezTo>
                    <a:pt x="0" y="598"/>
                    <a:pt x="5" y="542"/>
                    <a:pt x="23" y="491"/>
                  </a:cubicBezTo>
                  <a:cubicBezTo>
                    <a:pt x="36" y="454"/>
                    <a:pt x="55" y="420"/>
                    <a:pt x="69" y="384"/>
                  </a:cubicBezTo>
                  <a:cubicBezTo>
                    <a:pt x="84" y="345"/>
                    <a:pt x="92" y="302"/>
                    <a:pt x="112" y="265"/>
                  </a:cubicBezTo>
                  <a:cubicBezTo>
                    <a:pt x="130" y="231"/>
                    <a:pt x="157" y="202"/>
                    <a:pt x="171" y="167"/>
                  </a:cubicBezTo>
                  <a:cubicBezTo>
                    <a:pt x="180" y="146"/>
                    <a:pt x="184" y="123"/>
                    <a:pt x="189" y="101"/>
                  </a:cubicBezTo>
                  <a:cubicBezTo>
                    <a:pt x="195" y="78"/>
                    <a:pt x="202" y="56"/>
                    <a:pt x="218" y="39"/>
                  </a:cubicBezTo>
                  <a:cubicBezTo>
                    <a:pt x="236" y="18"/>
                    <a:pt x="263" y="7"/>
                    <a:pt x="290" y="4"/>
                  </a:cubicBezTo>
                  <a:cubicBezTo>
                    <a:pt x="318" y="0"/>
                    <a:pt x="345" y="5"/>
                    <a:pt x="372" y="11"/>
                  </a:cubicBezTo>
                  <a:cubicBezTo>
                    <a:pt x="394" y="16"/>
                    <a:pt x="415" y="22"/>
                    <a:pt x="435" y="29"/>
                  </a:cubicBezTo>
                  <a:cubicBezTo>
                    <a:pt x="453" y="35"/>
                    <a:pt x="471" y="43"/>
                    <a:pt x="486" y="54"/>
                  </a:cubicBezTo>
                  <a:cubicBezTo>
                    <a:pt x="507" y="68"/>
                    <a:pt x="523" y="89"/>
                    <a:pt x="535" y="111"/>
                  </a:cubicBezTo>
                  <a:cubicBezTo>
                    <a:pt x="548" y="134"/>
                    <a:pt x="557" y="157"/>
                    <a:pt x="568" y="18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42" name="Freeform 6"/>
            <p:cNvSpPr>
              <a:spLocks/>
            </p:cNvSpPr>
            <p:nvPr/>
          </p:nvSpPr>
          <p:spPr bwMode="auto">
            <a:xfrm>
              <a:off x="3826233" y="403225"/>
              <a:ext cx="2127941" cy="2704653"/>
            </a:xfrm>
            <a:custGeom>
              <a:avLst/>
              <a:gdLst>
                <a:gd name="T0" fmla="*/ 7 w 370"/>
                <a:gd name="T1" fmla="*/ 356 h 467"/>
                <a:gd name="T2" fmla="*/ 4 w 370"/>
                <a:gd name="T3" fmla="*/ 262 h 467"/>
                <a:gd name="T4" fmla="*/ 1 w 370"/>
                <a:gd name="T5" fmla="*/ 173 h 467"/>
                <a:gd name="T6" fmla="*/ 21 w 370"/>
                <a:gd name="T7" fmla="*/ 84 h 467"/>
                <a:gd name="T8" fmla="*/ 83 w 370"/>
                <a:gd name="T9" fmla="*/ 19 h 467"/>
                <a:gd name="T10" fmla="*/ 166 w 370"/>
                <a:gd name="T11" fmla="*/ 0 h 467"/>
                <a:gd name="T12" fmla="*/ 276 w 370"/>
                <a:gd name="T13" fmla="*/ 35 h 467"/>
                <a:gd name="T14" fmla="*/ 325 w 370"/>
                <a:gd name="T15" fmla="*/ 89 h 467"/>
                <a:gd name="T16" fmla="*/ 350 w 370"/>
                <a:gd name="T17" fmla="*/ 145 h 467"/>
                <a:gd name="T18" fmla="*/ 361 w 370"/>
                <a:gd name="T19" fmla="*/ 273 h 467"/>
                <a:gd name="T20" fmla="*/ 367 w 370"/>
                <a:gd name="T21" fmla="*/ 394 h 467"/>
                <a:gd name="T22" fmla="*/ 362 w 370"/>
                <a:gd name="T23" fmla="*/ 419 h 467"/>
                <a:gd name="T24" fmla="*/ 344 w 370"/>
                <a:gd name="T25" fmla="*/ 437 h 467"/>
                <a:gd name="T26" fmla="*/ 320 w 370"/>
                <a:gd name="T27" fmla="*/ 445 h 467"/>
                <a:gd name="T28" fmla="*/ 269 w 370"/>
                <a:gd name="T29" fmla="*/ 448 h 467"/>
                <a:gd name="T30" fmla="*/ 196 w 370"/>
                <a:gd name="T31" fmla="*/ 463 h 467"/>
                <a:gd name="T32" fmla="*/ 107 w 370"/>
                <a:gd name="T33" fmla="*/ 463 h 467"/>
                <a:gd name="T34" fmla="*/ 72 w 370"/>
                <a:gd name="T35" fmla="*/ 461 h 467"/>
                <a:gd name="T36" fmla="*/ 38 w 370"/>
                <a:gd name="T37" fmla="*/ 451 h 467"/>
                <a:gd name="T38" fmla="*/ 21 w 370"/>
                <a:gd name="T39" fmla="*/ 438 h 467"/>
                <a:gd name="T40" fmla="*/ 11 w 370"/>
                <a:gd name="T41" fmla="*/ 418 h 467"/>
                <a:gd name="T42" fmla="*/ 9 w 370"/>
                <a:gd name="T43" fmla="*/ 386 h 467"/>
                <a:gd name="T44" fmla="*/ 7 w 370"/>
                <a:gd name="T45" fmla="*/ 356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70" h="467">
                  <a:moveTo>
                    <a:pt x="7" y="356"/>
                  </a:moveTo>
                  <a:cubicBezTo>
                    <a:pt x="5" y="325"/>
                    <a:pt x="5" y="294"/>
                    <a:pt x="4" y="262"/>
                  </a:cubicBezTo>
                  <a:cubicBezTo>
                    <a:pt x="3" y="233"/>
                    <a:pt x="0" y="203"/>
                    <a:pt x="1" y="173"/>
                  </a:cubicBezTo>
                  <a:cubicBezTo>
                    <a:pt x="2" y="142"/>
                    <a:pt x="7" y="112"/>
                    <a:pt x="21" y="84"/>
                  </a:cubicBezTo>
                  <a:cubicBezTo>
                    <a:pt x="35" y="57"/>
                    <a:pt x="56" y="34"/>
                    <a:pt x="83" y="19"/>
                  </a:cubicBezTo>
                  <a:cubicBezTo>
                    <a:pt x="109" y="6"/>
                    <a:pt x="138" y="0"/>
                    <a:pt x="166" y="0"/>
                  </a:cubicBezTo>
                  <a:cubicBezTo>
                    <a:pt x="205" y="1"/>
                    <a:pt x="244" y="12"/>
                    <a:pt x="276" y="35"/>
                  </a:cubicBezTo>
                  <a:cubicBezTo>
                    <a:pt x="295" y="50"/>
                    <a:pt x="312" y="68"/>
                    <a:pt x="325" y="89"/>
                  </a:cubicBezTo>
                  <a:cubicBezTo>
                    <a:pt x="336" y="106"/>
                    <a:pt x="345" y="125"/>
                    <a:pt x="350" y="145"/>
                  </a:cubicBezTo>
                  <a:cubicBezTo>
                    <a:pt x="361" y="186"/>
                    <a:pt x="359" y="230"/>
                    <a:pt x="361" y="273"/>
                  </a:cubicBezTo>
                  <a:cubicBezTo>
                    <a:pt x="363" y="313"/>
                    <a:pt x="370" y="353"/>
                    <a:pt x="367" y="394"/>
                  </a:cubicBezTo>
                  <a:cubicBezTo>
                    <a:pt x="367" y="402"/>
                    <a:pt x="366" y="411"/>
                    <a:pt x="362" y="419"/>
                  </a:cubicBezTo>
                  <a:cubicBezTo>
                    <a:pt x="358" y="427"/>
                    <a:pt x="352" y="433"/>
                    <a:pt x="344" y="437"/>
                  </a:cubicBezTo>
                  <a:cubicBezTo>
                    <a:pt x="337" y="441"/>
                    <a:pt x="329" y="444"/>
                    <a:pt x="320" y="445"/>
                  </a:cubicBezTo>
                  <a:cubicBezTo>
                    <a:pt x="303" y="448"/>
                    <a:pt x="286" y="446"/>
                    <a:pt x="269" y="448"/>
                  </a:cubicBezTo>
                  <a:cubicBezTo>
                    <a:pt x="244" y="450"/>
                    <a:pt x="221" y="459"/>
                    <a:pt x="196" y="463"/>
                  </a:cubicBezTo>
                  <a:cubicBezTo>
                    <a:pt x="167" y="467"/>
                    <a:pt x="137" y="464"/>
                    <a:pt x="107" y="463"/>
                  </a:cubicBezTo>
                  <a:cubicBezTo>
                    <a:pt x="96" y="463"/>
                    <a:pt x="84" y="462"/>
                    <a:pt x="72" y="461"/>
                  </a:cubicBezTo>
                  <a:cubicBezTo>
                    <a:pt x="60" y="459"/>
                    <a:pt x="48" y="457"/>
                    <a:pt x="38" y="451"/>
                  </a:cubicBezTo>
                  <a:cubicBezTo>
                    <a:pt x="32" y="448"/>
                    <a:pt x="26" y="443"/>
                    <a:pt x="21" y="438"/>
                  </a:cubicBezTo>
                  <a:cubicBezTo>
                    <a:pt x="16" y="432"/>
                    <a:pt x="12" y="426"/>
                    <a:pt x="11" y="418"/>
                  </a:cubicBezTo>
                  <a:cubicBezTo>
                    <a:pt x="8" y="408"/>
                    <a:pt x="9" y="397"/>
                    <a:pt x="9" y="386"/>
                  </a:cubicBezTo>
                  <a:cubicBezTo>
                    <a:pt x="9" y="376"/>
                    <a:pt x="8" y="366"/>
                    <a:pt x="7" y="356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43" name="Freeform 7"/>
            <p:cNvSpPr>
              <a:spLocks/>
            </p:cNvSpPr>
            <p:nvPr/>
          </p:nvSpPr>
          <p:spPr bwMode="auto">
            <a:xfrm>
              <a:off x="4601838" y="5812530"/>
              <a:ext cx="1829632" cy="1272778"/>
            </a:xfrm>
            <a:custGeom>
              <a:avLst/>
              <a:gdLst>
                <a:gd name="T0" fmla="*/ 38 w 315"/>
                <a:gd name="T1" fmla="*/ 184 h 219"/>
                <a:gd name="T2" fmla="*/ 104 w 315"/>
                <a:gd name="T3" fmla="*/ 190 h 219"/>
                <a:gd name="T4" fmla="*/ 161 w 315"/>
                <a:gd name="T5" fmla="*/ 202 h 219"/>
                <a:gd name="T6" fmla="*/ 250 w 315"/>
                <a:gd name="T7" fmla="*/ 219 h 219"/>
                <a:gd name="T8" fmla="*/ 274 w 315"/>
                <a:gd name="T9" fmla="*/ 217 h 219"/>
                <a:gd name="T10" fmla="*/ 296 w 315"/>
                <a:gd name="T11" fmla="*/ 207 h 219"/>
                <a:gd name="T12" fmla="*/ 313 w 315"/>
                <a:gd name="T13" fmla="*/ 177 h 219"/>
                <a:gd name="T14" fmla="*/ 310 w 315"/>
                <a:gd name="T15" fmla="*/ 141 h 219"/>
                <a:gd name="T16" fmla="*/ 277 w 315"/>
                <a:gd name="T17" fmla="*/ 79 h 219"/>
                <a:gd name="T18" fmla="*/ 256 w 315"/>
                <a:gd name="T19" fmla="*/ 43 h 219"/>
                <a:gd name="T20" fmla="*/ 228 w 315"/>
                <a:gd name="T21" fmla="*/ 14 h 219"/>
                <a:gd name="T22" fmla="*/ 174 w 315"/>
                <a:gd name="T23" fmla="*/ 2 h 219"/>
                <a:gd name="T24" fmla="*/ 120 w 315"/>
                <a:gd name="T25" fmla="*/ 20 h 219"/>
                <a:gd name="T26" fmla="*/ 62 w 315"/>
                <a:gd name="T27" fmla="*/ 72 h 219"/>
                <a:gd name="T28" fmla="*/ 50 w 315"/>
                <a:gd name="T29" fmla="*/ 97 h 219"/>
                <a:gd name="T30" fmla="*/ 35 w 315"/>
                <a:gd name="T31" fmla="*/ 120 h 219"/>
                <a:gd name="T32" fmla="*/ 12 w 315"/>
                <a:gd name="T33" fmla="*/ 139 h 219"/>
                <a:gd name="T34" fmla="*/ 3 w 315"/>
                <a:gd name="T35" fmla="*/ 152 h 219"/>
                <a:gd name="T36" fmla="*/ 2 w 315"/>
                <a:gd name="T37" fmla="*/ 167 h 219"/>
                <a:gd name="T38" fmla="*/ 8 w 315"/>
                <a:gd name="T39" fmla="*/ 175 h 219"/>
                <a:gd name="T40" fmla="*/ 17 w 315"/>
                <a:gd name="T41" fmla="*/ 181 h 219"/>
                <a:gd name="T42" fmla="*/ 38 w 315"/>
                <a:gd name="T43" fmla="*/ 184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15" h="219">
                  <a:moveTo>
                    <a:pt x="38" y="184"/>
                  </a:moveTo>
                  <a:cubicBezTo>
                    <a:pt x="60" y="185"/>
                    <a:pt x="82" y="187"/>
                    <a:pt x="104" y="190"/>
                  </a:cubicBezTo>
                  <a:cubicBezTo>
                    <a:pt x="123" y="193"/>
                    <a:pt x="142" y="197"/>
                    <a:pt x="161" y="202"/>
                  </a:cubicBezTo>
                  <a:cubicBezTo>
                    <a:pt x="190" y="209"/>
                    <a:pt x="220" y="218"/>
                    <a:pt x="250" y="219"/>
                  </a:cubicBezTo>
                  <a:cubicBezTo>
                    <a:pt x="258" y="219"/>
                    <a:pt x="266" y="219"/>
                    <a:pt x="274" y="217"/>
                  </a:cubicBezTo>
                  <a:cubicBezTo>
                    <a:pt x="282" y="215"/>
                    <a:pt x="289" y="212"/>
                    <a:pt x="296" y="207"/>
                  </a:cubicBezTo>
                  <a:cubicBezTo>
                    <a:pt x="305" y="200"/>
                    <a:pt x="311" y="188"/>
                    <a:pt x="313" y="177"/>
                  </a:cubicBezTo>
                  <a:cubicBezTo>
                    <a:pt x="315" y="165"/>
                    <a:pt x="314" y="153"/>
                    <a:pt x="310" y="141"/>
                  </a:cubicBezTo>
                  <a:cubicBezTo>
                    <a:pt x="304" y="119"/>
                    <a:pt x="289" y="99"/>
                    <a:pt x="277" y="79"/>
                  </a:cubicBezTo>
                  <a:cubicBezTo>
                    <a:pt x="270" y="67"/>
                    <a:pt x="264" y="55"/>
                    <a:pt x="256" y="43"/>
                  </a:cubicBezTo>
                  <a:cubicBezTo>
                    <a:pt x="248" y="32"/>
                    <a:pt x="239" y="21"/>
                    <a:pt x="228" y="14"/>
                  </a:cubicBezTo>
                  <a:cubicBezTo>
                    <a:pt x="212" y="4"/>
                    <a:pt x="192" y="0"/>
                    <a:pt x="174" y="2"/>
                  </a:cubicBezTo>
                  <a:cubicBezTo>
                    <a:pt x="155" y="4"/>
                    <a:pt x="137" y="11"/>
                    <a:pt x="120" y="20"/>
                  </a:cubicBezTo>
                  <a:cubicBezTo>
                    <a:pt x="96" y="32"/>
                    <a:pt x="74" y="48"/>
                    <a:pt x="62" y="72"/>
                  </a:cubicBezTo>
                  <a:cubicBezTo>
                    <a:pt x="57" y="80"/>
                    <a:pt x="54" y="88"/>
                    <a:pt x="50" y="97"/>
                  </a:cubicBezTo>
                  <a:cubicBezTo>
                    <a:pt x="46" y="105"/>
                    <a:pt x="42" y="113"/>
                    <a:pt x="35" y="120"/>
                  </a:cubicBezTo>
                  <a:cubicBezTo>
                    <a:pt x="28" y="127"/>
                    <a:pt x="19" y="132"/>
                    <a:pt x="12" y="139"/>
                  </a:cubicBezTo>
                  <a:cubicBezTo>
                    <a:pt x="8" y="143"/>
                    <a:pt x="5" y="147"/>
                    <a:pt x="3" y="152"/>
                  </a:cubicBezTo>
                  <a:cubicBezTo>
                    <a:pt x="1" y="157"/>
                    <a:pt x="0" y="162"/>
                    <a:pt x="2" y="167"/>
                  </a:cubicBezTo>
                  <a:cubicBezTo>
                    <a:pt x="3" y="170"/>
                    <a:pt x="5" y="173"/>
                    <a:pt x="8" y="175"/>
                  </a:cubicBezTo>
                  <a:cubicBezTo>
                    <a:pt x="11" y="178"/>
                    <a:pt x="14" y="179"/>
                    <a:pt x="17" y="181"/>
                  </a:cubicBezTo>
                  <a:cubicBezTo>
                    <a:pt x="24" y="183"/>
                    <a:pt x="31" y="183"/>
                    <a:pt x="38" y="184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46" name="Freeform 8"/>
            <p:cNvSpPr>
              <a:spLocks/>
            </p:cNvSpPr>
            <p:nvPr/>
          </p:nvSpPr>
          <p:spPr bwMode="auto">
            <a:xfrm>
              <a:off x="2971079" y="5812530"/>
              <a:ext cx="1710308" cy="1272778"/>
            </a:xfrm>
            <a:custGeom>
              <a:avLst/>
              <a:gdLst>
                <a:gd name="T0" fmla="*/ 257 w 296"/>
                <a:gd name="T1" fmla="*/ 182 h 219"/>
                <a:gd name="T2" fmla="*/ 202 w 296"/>
                <a:gd name="T3" fmla="*/ 190 h 219"/>
                <a:gd name="T4" fmla="*/ 151 w 296"/>
                <a:gd name="T5" fmla="*/ 202 h 219"/>
                <a:gd name="T6" fmla="*/ 64 w 296"/>
                <a:gd name="T7" fmla="*/ 219 h 219"/>
                <a:gd name="T8" fmla="*/ 41 w 296"/>
                <a:gd name="T9" fmla="*/ 217 h 219"/>
                <a:gd name="T10" fmla="*/ 20 w 296"/>
                <a:gd name="T11" fmla="*/ 207 h 219"/>
                <a:gd name="T12" fmla="*/ 3 w 296"/>
                <a:gd name="T13" fmla="*/ 177 h 219"/>
                <a:gd name="T14" fmla="*/ 5 w 296"/>
                <a:gd name="T15" fmla="*/ 142 h 219"/>
                <a:gd name="T16" fmla="*/ 38 w 296"/>
                <a:gd name="T17" fmla="*/ 79 h 219"/>
                <a:gd name="T18" fmla="*/ 58 w 296"/>
                <a:gd name="T19" fmla="*/ 43 h 219"/>
                <a:gd name="T20" fmla="*/ 86 w 296"/>
                <a:gd name="T21" fmla="*/ 14 h 219"/>
                <a:gd name="T22" fmla="*/ 139 w 296"/>
                <a:gd name="T23" fmla="*/ 2 h 219"/>
                <a:gd name="T24" fmla="*/ 191 w 296"/>
                <a:gd name="T25" fmla="*/ 20 h 219"/>
                <a:gd name="T26" fmla="*/ 248 w 296"/>
                <a:gd name="T27" fmla="*/ 72 h 219"/>
                <a:gd name="T28" fmla="*/ 273 w 296"/>
                <a:gd name="T29" fmla="*/ 120 h 219"/>
                <a:gd name="T30" fmla="*/ 291 w 296"/>
                <a:gd name="T31" fmla="*/ 143 h 219"/>
                <a:gd name="T32" fmla="*/ 296 w 296"/>
                <a:gd name="T33" fmla="*/ 157 h 219"/>
                <a:gd name="T34" fmla="*/ 292 w 296"/>
                <a:gd name="T35" fmla="*/ 171 h 219"/>
                <a:gd name="T36" fmla="*/ 285 w 296"/>
                <a:gd name="T37" fmla="*/ 178 h 219"/>
                <a:gd name="T38" fmla="*/ 276 w 296"/>
                <a:gd name="T39" fmla="*/ 181 h 219"/>
                <a:gd name="T40" fmla="*/ 257 w 296"/>
                <a:gd name="T41" fmla="*/ 182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6" h="219">
                  <a:moveTo>
                    <a:pt x="257" y="182"/>
                  </a:moveTo>
                  <a:cubicBezTo>
                    <a:pt x="238" y="183"/>
                    <a:pt x="220" y="186"/>
                    <a:pt x="202" y="190"/>
                  </a:cubicBezTo>
                  <a:cubicBezTo>
                    <a:pt x="185" y="193"/>
                    <a:pt x="168" y="197"/>
                    <a:pt x="151" y="202"/>
                  </a:cubicBezTo>
                  <a:cubicBezTo>
                    <a:pt x="122" y="209"/>
                    <a:pt x="94" y="218"/>
                    <a:pt x="64" y="219"/>
                  </a:cubicBezTo>
                  <a:cubicBezTo>
                    <a:pt x="56" y="219"/>
                    <a:pt x="49" y="219"/>
                    <a:pt x="41" y="217"/>
                  </a:cubicBezTo>
                  <a:cubicBezTo>
                    <a:pt x="33" y="215"/>
                    <a:pt x="26" y="212"/>
                    <a:pt x="20" y="207"/>
                  </a:cubicBezTo>
                  <a:cubicBezTo>
                    <a:pt x="11" y="200"/>
                    <a:pt x="5" y="188"/>
                    <a:pt x="3" y="177"/>
                  </a:cubicBezTo>
                  <a:cubicBezTo>
                    <a:pt x="0" y="165"/>
                    <a:pt x="2" y="153"/>
                    <a:pt x="5" y="142"/>
                  </a:cubicBezTo>
                  <a:cubicBezTo>
                    <a:pt x="12" y="119"/>
                    <a:pt x="26" y="99"/>
                    <a:pt x="38" y="79"/>
                  </a:cubicBezTo>
                  <a:cubicBezTo>
                    <a:pt x="45" y="67"/>
                    <a:pt x="51" y="55"/>
                    <a:pt x="58" y="43"/>
                  </a:cubicBezTo>
                  <a:cubicBezTo>
                    <a:pt x="66" y="32"/>
                    <a:pt x="75" y="21"/>
                    <a:pt x="86" y="14"/>
                  </a:cubicBezTo>
                  <a:cubicBezTo>
                    <a:pt x="101" y="4"/>
                    <a:pt x="121" y="0"/>
                    <a:pt x="139" y="2"/>
                  </a:cubicBezTo>
                  <a:cubicBezTo>
                    <a:pt x="157" y="4"/>
                    <a:pt x="175" y="11"/>
                    <a:pt x="191" y="20"/>
                  </a:cubicBezTo>
                  <a:cubicBezTo>
                    <a:pt x="214" y="32"/>
                    <a:pt x="235" y="49"/>
                    <a:pt x="248" y="72"/>
                  </a:cubicBezTo>
                  <a:cubicBezTo>
                    <a:pt x="257" y="87"/>
                    <a:pt x="262" y="105"/>
                    <a:pt x="273" y="120"/>
                  </a:cubicBezTo>
                  <a:cubicBezTo>
                    <a:pt x="279" y="128"/>
                    <a:pt x="286" y="135"/>
                    <a:pt x="291" y="143"/>
                  </a:cubicBezTo>
                  <a:cubicBezTo>
                    <a:pt x="294" y="148"/>
                    <a:pt x="295" y="152"/>
                    <a:pt x="296" y="157"/>
                  </a:cubicBezTo>
                  <a:cubicBezTo>
                    <a:pt x="296" y="162"/>
                    <a:pt x="295" y="167"/>
                    <a:pt x="292" y="171"/>
                  </a:cubicBezTo>
                  <a:cubicBezTo>
                    <a:pt x="291" y="174"/>
                    <a:pt x="288" y="176"/>
                    <a:pt x="285" y="178"/>
                  </a:cubicBezTo>
                  <a:cubicBezTo>
                    <a:pt x="282" y="179"/>
                    <a:pt x="279" y="180"/>
                    <a:pt x="276" y="181"/>
                  </a:cubicBezTo>
                  <a:cubicBezTo>
                    <a:pt x="270" y="182"/>
                    <a:pt x="263" y="182"/>
                    <a:pt x="257" y="182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47" name="Freeform 9"/>
            <p:cNvSpPr>
              <a:spLocks/>
            </p:cNvSpPr>
            <p:nvPr/>
          </p:nvSpPr>
          <p:spPr bwMode="auto">
            <a:xfrm>
              <a:off x="3229614" y="2272617"/>
              <a:ext cx="2943320" cy="4375173"/>
            </a:xfrm>
            <a:custGeom>
              <a:avLst/>
              <a:gdLst>
                <a:gd name="T0" fmla="*/ 156 w 508"/>
                <a:gd name="T1" fmla="*/ 19 h 756"/>
                <a:gd name="T2" fmla="*/ 147 w 508"/>
                <a:gd name="T3" fmla="*/ 37 h 756"/>
                <a:gd name="T4" fmla="*/ 145 w 508"/>
                <a:gd name="T5" fmla="*/ 57 h 756"/>
                <a:gd name="T6" fmla="*/ 142 w 508"/>
                <a:gd name="T7" fmla="*/ 97 h 756"/>
                <a:gd name="T8" fmla="*/ 121 w 508"/>
                <a:gd name="T9" fmla="*/ 134 h 756"/>
                <a:gd name="T10" fmla="*/ 85 w 508"/>
                <a:gd name="T11" fmla="*/ 199 h 756"/>
                <a:gd name="T12" fmla="*/ 81 w 508"/>
                <a:gd name="T13" fmla="*/ 244 h 756"/>
                <a:gd name="T14" fmla="*/ 39 w 508"/>
                <a:gd name="T15" fmla="*/ 319 h 756"/>
                <a:gd name="T16" fmla="*/ 5 w 508"/>
                <a:gd name="T17" fmla="*/ 444 h 756"/>
                <a:gd name="T18" fmla="*/ 28 w 508"/>
                <a:gd name="T19" fmla="*/ 601 h 756"/>
                <a:gd name="T20" fmla="*/ 94 w 508"/>
                <a:gd name="T21" fmla="*/ 694 h 756"/>
                <a:gd name="T22" fmla="*/ 143 w 508"/>
                <a:gd name="T23" fmla="*/ 726 h 756"/>
                <a:gd name="T24" fmla="*/ 339 w 508"/>
                <a:gd name="T25" fmla="*/ 724 h 756"/>
                <a:gd name="T26" fmla="*/ 422 w 508"/>
                <a:gd name="T27" fmla="*/ 658 h 756"/>
                <a:gd name="T28" fmla="*/ 464 w 508"/>
                <a:gd name="T29" fmla="*/ 611 h 756"/>
                <a:gd name="T30" fmla="*/ 500 w 508"/>
                <a:gd name="T31" fmla="*/ 494 h 756"/>
                <a:gd name="T32" fmla="*/ 477 w 508"/>
                <a:gd name="T33" fmla="*/ 282 h 756"/>
                <a:gd name="T34" fmla="*/ 435 w 508"/>
                <a:gd name="T35" fmla="*/ 222 h 756"/>
                <a:gd name="T36" fmla="*/ 408 w 508"/>
                <a:gd name="T37" fmla="*/ 132 h 756"/>
                <a:gd name="T38" fmla="*/ 378 w 508"/>
                <a:gd name="T39" fmla="*/ 70 h 756"/>
                <a:gd name="T40" fmla="*/ 367 w 508"/>
                <a:gd name="T41" fmla="*/ 45 h 756"/>
                <a:gd name="T42" fmla="*/ 352 w 508"/>
                <a:gd name="T43" fmla="*/ 22 h 756"/>
                <a:gd name="T44" fmla="*/ 327 w 508"/>
                <a:gd name="T45" fmla="*/ 7 h 756"/>
                <a:gd name="T46" fmla="*/ 299 w 508"/>
                <a:gd name="T47" fmla="*/ 3 h 756"/>
                <a:gd name="T48" fmla="*/ 242 w 508"/>
                <a:gd name="T49" fmla="*/ 3 h 756"/>
                <a:gd name="T50" fmla="*/ 196 w 508"/>
                <a:gd name="T51" fmla="*/ 1 h 756"/>
                <a:gd name="T52" fmla="*/ 174 w 508"/>
                <a:gd name="T53" fmla="*/ 6 h 756"/>
                <a:gd name="T54" fmla="*/ 156 w 508"/>
                <a:gd name="T55" fmla="*/ 19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08" h="756">
                  <a:moveTo>
                    <a:pt x="156" y="19"/>
                  </a:moveTo>
                  <a:cubicBezTo>
                    <a:pt x="152" y="24"/>
                    <a:pt x="149" y="30"/>
                    <a:pt x="147" y="37"/>
                  </a:cubicBezTo>
                  <a:cubicBezTo>
                    <a:pt x="146" y="43"/>
                    <a:pt x="145" y="50"/>
                    <a:pt x="145" y="57"/>
                  </a:cubicBezTo>
                  <a:cubicBezTo>
                    <a:pt x="144" y="70"/>
                    <a:pt x="145" y="84"/>
                    <a:pt x="142" y="97"/>
                  </a:cubicBezTo>
                  <a:cubicBezTo>
                    <a:pt x="138" y="111"/>
                    <a:pt x="129" y="123"/>
                    <a:pt x="121" y="134"/>
                  </a:cubicBezTo>
                  <a:cubicBezTo>
                    <a:pt x="106" y="155"/>
                    <a:pt x="92" y="175"/>
                    <a:pt x="85" y="199"/>
                  </a:cubicBezTo>
                  <a:cubicBezTo>
                    <a:pt x="80" y="214"/>
                    <a:pt x="79" y="229"/>
                    <a:pt x="81" y="244"/>
                  </a:cubicBezTo>
                  <a:cubicBezTo>
                    <a:pt x="64" y="268"/>
                    <a:pt x="50" y="293"/>
                    <a:pt x="39" y="319"/>
                  </a:cubicBezTo>
                  <a:cubicBezTo>
                    <a:pt x="21" y="359"/>
                    <a:pt x="9" y="401"/>
                    <a:pt x="5" y="444"/>
                  </a:cubicBezTo>
                  <a:cubicBezTo>
                    <a:pt x="0" y="497"/>
                    <a:pt x="7" y="552"/>
                    <a:pt x="28" y="601"/>
                  </a:cubicBezTo>
                  <a:cubicBezTo>
                    <a:pt x="43" y="636"/>
                    <a:pt x="65" y="668"/>
                    <a:pt x="94" y="694"/>
                  </a:cubicBezTo>
                  <a:cubicBezTo>
                    <a:pt x="109" y="706"/>
                    <a:pt x="126" y="717"/>
                    <a:pt x="143" y="726"/>
                  </a:cubicBezTo>
                  <a:cubicBezTo>
                    <a:pt x="204" y="756"/>
                    <a:pt x="279" y="756"/>
                    <a:pt x="339" y="724"/>
                  </a:cubicBezTo>
                  <a:cubicBezTo>
                    <a:pt x="370" y="707"/>
                    <a:pt x="397" y="683"/>
                    <a:pt x="422" y="658"/>
                  </a:cubicBezTo>
                  <a:cubicBezTo>
                    <a:pt x="437" y="644"/>
                    <a:pt x="453" y="628"/>
                    <a:pt x="464" y="611"/>
                  </a:cubicBezTo>
                  <a:cubicBezTo>
                    <a:pt x="487" y="576"/>
                    <a:pt x="495" y="534"/>
                    <a:pt x="500" y="494"/>
                  </a:cubicBezTo>
                  <a:cubicBezTo>
                    <a:pt x="508" y="422"/>
                    <a:pt x="508" y="347"/>
                    <a:pt x="477" y="282"/>
                  </a:cubicBezTo>
                  <a:cubicBezTo>
                    <a:pt x="466" y="260"/>
                    <a:pt x="452" y="239"/>
                    <a:pt x="435" y="222"/>
                  </a:cubicBezTo>
                  <a:cubicBezTo>
                    <a:pt x="430" y="191"/>
                    <a:pt x="421" y="160"/>
                    <a:pt x="408" y="132"/>
                  </a:cubicBezTo>
                  <a:cubicBezTo>
                    <a:pt x="399" y="111"/>
                    <a:pt x="387" y="91"/>
                    <a:pt x="378" y="70"/>
                  </a:cubicBezTo>
                  <a:cubicBezTo>
                    <a:pt x="375" y="62"/>
                    <a:pt x="371" y="53"/>
                    <a:pt x="367" y="45"/>
                  </a:cubicBezTo>
                  <a:cubicBezTo>
                    <a:pt x="363" y="36"/>
                    <a:pt x="358" y="28"/>
                    <a:pt x="352" y="22"/>
                  </a:cubicBezTo>
                  <a:cubicBezTo>
                    <a:pt x="345" y="15"/>
                    <a:pt x="336" y="10"/>
                    <a:pt x="327" y="7"/>
                  </a:cubicBezTo>
                  <a:cubicBezTo>
                    <a:pt x="318" y="4"/>
                    <a:pt x="309" y="3"/>
                    <a:pt x="299" y="3"/>
                  </a:cubicBezTo>
                  <a:cubicBezTo>
                    <a:pt x="280" y="2"/>
                    <a:pt x="261" y="4"/>
                    <a:pt x="242" y="3"/>
                  </a:cubicBezTo>
                  <a:cubicBezTo>
                    <a:pt x="227" y="3"/>
                    <a:pt x="211" y="0"/>
                    <a:pt x="196" y="1"/>
                  </a:cubicBezTo>
                  <a:cubicBezTo>
                    <a:pt x="189" y="1"/>
                    <a:pt x="181" y="3"/>
                    <a:pt x="174" y="6"/>
                  </a:cubicBezTo>
                  <a:cubicBezTo>
                    <a:pt x="167" y="8"/>
                    <a:pt x="161" y="13"/>
                    <a:pt x="156" y="19"/>
                  </a:cubicBezTo>
                  <a:close/>
                </a:path>
              </a:pathLst>
            </a:custGeom>
            <a:solidFill>
              <a:srgbClr val="FDFD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49" name="Freeform 10"/>
            <p:cNvSpPr>
              <a:spLocks/>
            </p:cNvSpPr>
            <p:nvPr/>
          </p:nvSpPr>
          <p:spPr bwMode="auto">
            <a:xfrm>
              <a:off x="1897166" y="5116481"/>
              <a:ext cx="2247264" cy="2167699"/>
            </a:xfrm>
            <a:custGeom>
              <a:avLst/>
              <a:gdLst>
                <a:gd name="T0" fmla="*/ 163 w 386"/>
                <a:gd name="T1" fmla="*/ 3 h 376"/>
                <a:gd name="T2" fmla="*/ 183 w 386"/>
                <a:gd name="T3" fmla="*/ 1 h 376"/>
                <a:gd name="T4" fmla="*/ 203 w 386"/>
                <a:gd name="T5" fmla="*/ 9 h 376"/>
                <a:gd name="T6" fmla="*/ 231 w 386"/>
                <a:gd name="T7" fmla="*/ 39 h 376"/>
                <a:gd name="T8" fmla="*/ 284 w 386"/>
                <a:gd name="T9" fmla="*/ 118 h 376"/>
                <a:gd name="T10" fmla="*/ 325 w 386"/>
                <a:gd name="T11" fmla="*/ 184 h 376"/>
                <a:gd name="T12" fmla="*/ 357 w 386"/>
                <a:gd name="T13" fmla="*/ 223 h 376"/>
                <a:gd name="T14" fmla="*/ 380 w 386"/>
                <a:gd name="T15" fmla="*/ 267 h 376"/>
                <a:gd name="T16" fmla="*/ 374 w 386"/>
                <a:gd name="T17" fmla="*/ 331 h 376"/>
                <a:gd name="T18" fmla="*/ 342 w 386"/>
                <a:gd name="T19" fmla="*/ 364 h 376"/>
                <a:gd name="T20" fmla="*/ 298 w 386"/>
                <a:gd name="T21" fmla="*/ 376 h 376"/>
                <a:gd name="T22" fmla="*/ 228 w 386"/>
                <a:gd name="T23" fmla="*/ 353 h 376"/>
                <a:gd name="T24" fmla="*/ 83 w 386"/>
                <a:gd name="T25" fmla="*/ 315 h 376"/>
                <a:gd name="T26" fmla="*/ 39 w 386"/>
                <a:gd name="T27" fmla="*/ 301 h 376"/>
                <a:gd name="T28" fmla="*/ 19 w 386"/>
                <a:gd name="T29" fmla="*/ 295 h 376"/>
                <a:gd name="T30" fmla="*/ 3 w 386"/>
                <a:gd name="T31" fmla="*/ 282 h 376"/>
                <a:gd name="T32" fmla="*/ 0 w 386"/>
                <a:gd name="T33" fmla="*/ 267 h 376"/>
                <a:gd name="T34" fmla="*/ 3 w 386"/>
                <a:gd name="T35" fmla="*/ 252 h 376"/>
                <a:gd name="T36" fmla="*/ 16 w 386"/>
                <a:gd name="T37" fmla="*/ 223 h 376"/>
                <a:gd name="T38" fmla="*/ 23 w 386"/>
                <a:gd name="T39" fmla="*/ 173 h 376"/>
                <a:gd name="T40" fmla="*/ 18 w 386"/>
                <a:gd name="T41" fmla="*/ 122 h 376"/>
                <a:gd name="T42" fmla="*/ 19 w 386"/>
                <a:gd name="T43" fmla="*/ 99 h 376"/>
                <a:gd name="T44" fmla="*/ 29 w 386"/>
                <a:gd name="T45" fmla="*/ 79 h 376"/>
                <a:gd name="T46" fmla="*/ 48 w 386"/>
                <a:gd name="T47" fmla="*/ 70 h 376"/>
                <a:gd name="T48" fmla="*/ 69 w 386"/>
                <a:gd name="T49" fmla="*/ 68 h 376"/>
                <a:gd name="T50" fmla="*/ 91 w 386"/>
                <a:gd name="T51" fmla="*/ 68 h 376"/>
                <a:gd name="T52" fmla="*/ 111 w 386"/>
                <a:gd name="T53" fmla="*/ 63 h 376"/>
                <a:gd name="T54" fmla="*/ 126 w 386"/>
                <a:gd name="T55" fmla="*/ 49 h 376"/>
                <a:gd name="T56" fmla="*/ 136 w 386"/>
                <a:gd name="T57" fmla="*/ 32 h 376"/>
                <a:gd name="T58" fmla="*/ 147 w 386"/>
                <a:gd name="T59" fmla="*/ 15 h 376"/>
                <a:gd name="T60" fmla="*/ 163 w 386"/>
                <a:gd name="T61" fmla="*/ 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86" h="376">
                  <a:moveTo>
                    <a:pt x="163" y="3"/>
                  </a:moveTo>
                  <a:cubicBezTo>
                    <a:pt x="169" y="0"/>
                    <a:pt x="177" y="0"/>
                    <a:pt x="183" y="1"/>
                  </a:cubicBezTo>
                  <a:cubicBezTo>
                    <a:pt x="190" y="2"/>
                    <a:pt x="197" y="5"/>
                    <a:pt x="203" y="9"/>
                  </a:cubicBezTo>
                  <a:cubicBezTo>
                    <a:pt x="214" y="17"/>
                    <a:pt x="223" y="28"/>
                    <a:pt x="231" y="39"/>
                  </a:cubicBezTo>
                  <a:cubicBezTo>
                    <a:pt x="250" y="65"/>
                    <a:pt x="268" y="91"/>
                    <a:pt x="284" y="118"/>
                  </a:cubicBezTo>
                  <a:cubicBezTo>
                    <a:pt x="298" y="140"/>
                    <a:pt x="310" y="163"/>
                    <a:pt x="325" y="184"/>
                  </a:cubicBezTo>
                  <a:cubicBezTo>
                    <a:pt x="335" y="197"/>
                    <a:pt x="347" y="210"/>
                    <a:pt x="357" y="223"/>
                  </a:cubicBezTo>
                  <a:cubicBezTo>
                    <a:pt x="367" y="236"/>
                    <a:pt x="376" y="251"/>
                    <a:pt x="380" y="267"/>
                  </a:cubicBezTo>
                  <a:cubicBezTo>
                    <a:pt x="386" y="288"/>
                    <a:pt x="384" y="312"/>
                    <a:pt x="374" y="331"/>
                  </a:cubicBezTo>
                  <a:cubicBezTo>
                    <a:pt x="366" y="345"/>
                    <a:pt x="355" y="356"/>
                    <a:pt x="342" y="364"/>
                  </a:cubicBezTo>
                  <a:cubicBezTo>
                    <a:pt x="329" y="372"/>
                    <a:pt x="313" y="376"/>
                    <a:pt x="298" y="376"/>
                  </a:cubicBezTo>
                  <a:cubicBezTo>
                    <a:pt x="273" y="375"/>
                    <a:pt x="251" y="362"/>
                    <a:pt x="228" y="353"/>
                  </a:cubicBezTo>
                  <a:cubicBezTo>
                    <a:pt x="181" y="335"/>
                    <a:pt x="131" y="329"/>
                    <a:pt x="83" y="315"/>
                  </a:cubicBezTo>
                  <a:cubicBezTo>
                    <a:pt x="68" y="311"/>
                    <a:pt x="53" y="305"/>
                    <a:pt x="39" y="301"/>
                  </a:cubicBezTo>
                  <a:cubicBezTo>
                    <a:pt x="32" y="300"/>
                    <a:pt x="25" y="298"/>
                    <a:pt x="19" y="295"/>
                  </a:cubicBezTo>
                  <a:cubicBezTo>
                    <a:pt x="13" y="292"/>
                    <a:pt x="7" y="288"/>
                    <a:pt x="3" y="282"/>
                  </a:cubicBezTo>
                  <a:cubicBezTo>
                    <a:pt x="1" y="278"/>
                    <a:pt x="0" y="272"/>
                    <a:pt x="0" y="267"/>
                  </a:cubicBezTo>
                  <a:cubicBezTo>
                    <a:pt x="0" y="262"/>
                    <a:pt x="1" y="257"/>
                    <a:pt x="3" y="252"/>
                  </a:cubicBezTo>
                  <a:cubicBezTo>
                    <a:pt x="6" y="242"/>
                    <a:pt x="12" y="233"/>
                    <a:pt x="16" y="223"/>
                  </a:cubicBezTo>
                  <a:cubicBezTo>
                    <a:pt x="23" y="208"/>
                    <a:pt x="24" y="190"/>
                    <a:pt x="23" y="173"/>
                  </a:cubicBezTo>
                  <a:cubicBezTo>
                    <a:pt x="22" y="156"/>
                    <a:pt x="19" y="139"/>
                    <a:pt x="18" y="122"/>
                  </a:cubicBezTo>
                  <a:cubicBezTo>
                    <a:pt x="17" y="114"/>
                    <a:pt x="17" y="106"/>
                    <a:pt x="19" y="99"/>
                  </a:cubicBezTo>
                  <a:cubicBezTo>
                    <a:pt x="20" y="91"/>
                    <a:pt x="24" y="84"/>
                    <a:pt x="29" y="79"/>
                  </a:cubicBezTo>
                  <a:cubicBezTo>
                    <a:pt x="34" y="74"/>
                    <a:pt x="41" y="71"/>
                    <a:pt x="48" y="70"/>
                  </a:cubicBezTo>
                  <a:cubicBezTo>
                    <a:pt x="55" y="68"/>
                    <a:pt x="62" y="68"/>
                    <a:pt x="69" y="68"/>
                  </a:cubicBezTo>
                  <a:cubicBezTo>
                    <a:pt x="76" y="68"/>
                    <a:pt x="83" y="69"/>
                    <a:pt x="91" y="68"/>
                  </a:cubicBezTo>
                  <a:cubicBezTo>
                    <a:pt x="98" y="68"/>
                    <a:pt x="105" y="66"/>
                    <a:pt x="111" y="63"/>
                  </a:cubicBezTo>
                  <a:cubicBezTo>
                    <a:pt x="117" y="59"/>
                    <a:pt x="122" y="54"/>
                    <a:pt x="126" y="49"/>
                  </a:cubicBezTo>
                  <a:cubicBezTo>
                    <a:pt x="130" y="44"/>
                    <a:pt x="133" y="38"/>
                    <a:pt x="136" y="32"/>
                  </a:cubicBezTo>
                  <a:cubicBezTo>
                    <a:pt x="139" y="26"/>
                    <a:pt x="143" y="20"/>
                    <a:pt x="147" y="15"/>
                  </a:cubicBezTo>
                  <a:cubicBezTo>
                    <a:pt x="152" y="10"/>
                    <a:pt x="157" y="5"/>
                    <a:pt x="163" y="3"/>
                  </a:cubicBezTo>
                  <a:close/>
                </a:path>
              </a:pathLst>
            </a:custGeom>
            <a:solidFill>
              <a:srgbClr val="002050"/>
            </a:solidFill>
            <a:ln w="14288" cap="rnd">
              <a:solidFill>
                <a:srgbClr val="002050"/>
              </a:solidFill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50" name="Freeform 11"/>
            <p:cNvSpPr>
              <a:spLocks/>
            </p:cNvSpPr>
            <p:nvPr/>
          </p:nvSpPr>
          <p:spPr bwMode="auto">
            <a:xfrm>
              <a:off x="5675752" y="5235803"/>
              <a:ext cx="2008617" cy="2068264"/>
            </a:xfrm>
            <a:custGeom>
              <a:avLst/>
              <a:gdLst>
                <a:gd name="T0" fmla="*/ 347 w 349"/>
                <a:gd name="T1" fmla="*/ 184 h 358"/>
                <a:gd name="T2" fmla="*/ 336 w 349"/>
                <a:gd name="T3" fmla="*/ 203 h 358"/>
                <a:gd name="T4" fmla="*/ 296 w 349"/>
                <a:gd name="T5" fmla="*/ 231 h 358"/>
                <a:gd name="T6" fmla="*/ 222 w 349"/>
                <a:gd name="T7" fmla="*/ 270 h 358"/>
                <a:gd name="T8" fmla="*/ 178 w 349"/>
                <a:gd name="T9" fmla="*/ 305 h 358"/>
                <a:gd name="T10" fmla="*/ 143 w 349"/>
                <a:gd name="T11" fmla="*/ 336 h 358"/>
                <a:gd name="T12" fmla="*/ 98 w 349"/>
                <a:gd name="T13" fmla="*/ 355 h 358"/>
                <a:gd name="T14" fmla="*/ 41 w 349"/>
                <a:gd name="T15" fmla="*/ 346 h 358"/>
                <a:gd name="T16" fmla="*/ 9 w 349"/>
                <a:gd name="T17" fmla="*/ 322 h 358"/>
                <a:gd name="T18" fmla="*/ 0 w 349"/>
                <a:gd name="T19" fmla="*/ 282 h 358"/>
                <a:gd name="T20" fmla="*/ 8 w 349"/>
                <a:gd name="T21" fmla="*/ 210 h 358"/>
                <a:gd name="T22" fmla="*/ 18 w 349"/>
                <a:gd name="T23" fmla="*/ 150 h 358"/>
                <a:gd name="T24" fmla="*/ 19 w 349"/>
                <a:gd name="T25" fmla="*/ 41 h 358"/>
                <a:gd name="T26" fmla="*/ 19 w 349"/>
                <a:gd name="T27" fmla="*/ 23 h 358"/>
                <a:gd name="T28" fmla="*/ 27 w 349"/>
                <a:gd name="T29" fmla="*/ 6 h 358"/>
                <a:gd name="T30" fmla="*/ 43 w 349"/>
                <a:gd name="T31" fmla="*/ 1 h 358"/>
                <a:gd name="T32" fmla="*/ 60 w 349"/>
                <a:gd name="T33" fmla="*/ 2 h 358"/>
                <a:gd name="T34" fmla="*/ 100 w 349"/>
                <a:gd name="T35" fmla="*/ 9 h 358"/>
                <a:gd name="T36" fmla="*/ 124 w 349"/>
                <a:gd name="T37" fmla="*/ 16 h 358"/>
                <a:gd name="T38" fmla="*/ 166 w 349"/>
                <a:gd name="T39" fmla="*/ 20 h 358"/>
                <a:gd name="T40" fmla="*/ 211 w 349"/>
                <a:gd name="T41" fmla="*/ 13 h 358"/>
                <a:gd name="T42" fmla="*/ 230 w 349"/>
                <a:gd name="T43" fmla="*/ 16 h 358"/>
                <a:gd name="T44" fmla="*/ 246 w 349"/>
                <a:gd name="T45" fmla="*/ 25 h 358"/>
                <a:gd name="T46" fmla="*/ 254 w 349"/>
                <a:gd name="T47" fmla="*/ 38 h 358"/>
                <a:gd name="T48" fmla="*/ 259 w 349"/>
                <a:gd name="T49" fmla="*/ 58 h 358"/>
                <a:gd name="T50" fmla="*/ 260 w 349"/>
                <a:gd name="T51" fmla="*/ 77 h 358"/>
                <a:gd name="T52" fmla="*/ 275 w 349"/>
                <a:gd name="T53" fmla="*/ 105 h 358"/>
                <a:gd name="T54" fmla="*/ 298 w 349"/>
                <a:gd name="T55" fmla="*/ 127 h 358"/>
                <a:gd name="T56" fmla="*/ 322 w 349"/>
                <a:gd name="T57" fmla="*/ 146 h 358"/>
                <a:gd name="T58" fmla="*/ 334 w 349"/>
                <a:gd name="T59" fmla="*/ 154 h 358"/>
                <a:gd name="T60" fmla="*/ 344 w 349"/>
                <a:gd name="T61" fmla="*/ 165 h 358"/>
                <a:gd name="T62" fmla="*/ 347 w 349"/>
                <a:gd name="T63" fmla="*/ 184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9" h="358">
                  <a:moveTo>
                    <a:pt x="347" y="184"/>
                  </a:moveTo>
                  <a:cubicBezTo>
                    <a:pt x="344" y="191"/>
                    <a:pt x="341" y="197"/>
                    <a:pt x="336" y="203"/>
                  </a:cubicBezTo>
                  <a:cubicBezTo>
                    <a:pt x="325" y="216"/>
                    <a:pt x="311" y="224"/>
                    <a:pt x="296" y="231"/>
                  </a:cubicBezTo>
                  <a:cubicBezTo>
                    <a:pt x="271" y="244"/>
                    <a:pt x="245" y="255"/>
                    <a:pt x="222" y="270"/>
                  </a:cubicBezTo>
                  <a:cubicBezTo>
                    <a:pt x="206" y="280"/>
                    <a:pt x="192" y="292"/>
                    <a:pt x="178" y="305"/>
                  </a:cubicBezTo>
                  <a:cubicBezTo>
                    <a:pt x="166" y="316"/>
                    <a:pt x="155" y="327"/>
                    <a:pt x="143" y="336"/>
                  </a:cubicBezTo>
                  <a:cubicBezTo>
                    <a:pt x="129" y="346"/>
                    <a:pt x="114" y="353"/>
                    <a:pt x="98" y="355"/>
                  </a:cubicBezTo>
                  <a:cubicBezTo>
                    <a:pt x="79" y="358"/>
                    <a:pt x="59" y="354"/>
                    <a:pt x="41" y="346"/>
                  </a:cubicBezTo>
                  <a:cubicBezTo>
                    <a:pt x="28" y="341"/>
                    <a:pt x="16" y="333"/>
                    <a:pt x="9" y="322"/>
                  </a:cubicBezTo>
                  <a:cubicBezTo>
                    <a:pt x="1" y="310"/>
                    <a:pt x="0" y="296"/>
                    <a:pt x="0" y="282"/>
                  </a:cubicBezTo>
                  <a:cubicBezTo>
                    <a:pt x="0" y="258"/>
                    <a:pt x="4" y="234"/>
                    <a:pt x="8" y="210"/>
                  </a:cubicBezTo>
                  <a:cubicBezTo>
                    <a:pt x="12" y="190"/>
                    <a:pt x="15" y="170"/>
                    <a:pt x="18" y="150"/>
                  </a:cubicBezTo>
                  <a:cubicBezTo>
                    <a:pt x="21" y="114"/>
                    <a:pt x="21" y="77"/>
                    <a:pt x="19" y="41"/>
                  </a:cubicBezTo>
                  <a:cubicBezTo>
                    <a:pt x="18" y="35"/>
                    <a:pt x="18" y="29"/>
                    <a:pt x="19" y="23"/>
                  </a:cubicBezTo>
                  <a:cubicBezTo>
                    <a:pt x="20" y="16"/>
                    <a:pt x="22" y="10"/>
                    <a:pt x="27" y="6"/>
                  </a:cubicBezTo>
                  <a:cubicBezTo>
                    <a:pt x="31" y="3"/>
                    <a:pt x="37" y="1"/>
                    <a:pt x="43" y="1"/>
                  </a:cubicBezTo>
                  <a:cubicBezTo>
                    <a:pt x="49" y="0"/>
                    <a:pt x="54" y="1"/>
                    <a:pt x="60" y="2"/>
                  </a:cubicBezTo>
                  <a:cubicBezTo>
                    <a:pt x="73" y="4"/>
                    <a:pt x="87" y="6"/>
                    <a:pt x="100" y="9"/>
                  </a:cubicBezTo>
                  <a:cubicBezTo>
                    <a:pt x="108" y="11"/>
                    <a:pt x="116" y="14"/>
                    <a:pt x="124" y="16"/>
                  </a:cubicBezTo>
                  <a:cubicBezTo>
                    <a:pt x="138" y="20"/>
                    <a:pt x="152" y="22"/>
                    <a:pt x="166" y="20"/>
                  </a:cubicBezTo>
                  <a:cubicBezTo>
                    <a:pt x="181" y="18"/>
                    <a:pt x="196" y="13"/>
                    <a:pt x="211" y="13"/>
                  </a:cubicBezTo>
                  <a:cubicBezTo>
                    <a:pt x="218" y="13"/>
                    <a:pt x="224" y="14"/>
                    <a:pt x="230" y="16"/>
                  </a:cubicBezTo>
                  <a:cubicBezTo>
                    <a:pt x="236" y="18"/>
                    <a:pt x="242" y="21"/>
                    <a:pt x="246" y="25"/>
                  </a:cubicBezTo>
                  <a:cubicBezTo>
                    <a:pt x="250" y="29"/>
                    <a:pt x="252" y="33"/>
                    <a:pt x="254" y="38"/>
                  </a:cubicBezTo>
                  <a:cubicBezTo>
                    <a:pt x="257" y="44"/>
                    <a:pt x="258" y="51"/>
                    <a:pt x="259" y="58"/>
                  </a:cubicBezTo>
                  <a:cubicBezTo>
                    <a:pt x="259" y="65"/>
                    <a:pt x="259" y="71"/>
                    <a:pt x="260" y="77"/>
                  </a:cubicBezTo>
                  <a:cubicBezTo>
                    <a:pt x="262" y="88"/>
                    <a:pt x="268" y="97"/>
                    <a:pt x="275" y="105"/>
                  </a:cubicBezTo>
                  <a:cubicBezTo>
                    <a:pt x="281" y="113"/>
                    <a:pt x="289" y="120"/>
                    <a:pt x="298" y="127"/>
                  </a:cubicBezTo>
                  <a:cubicBezTo>
                    <a:pt x="306" y="133"/>
                    <a:pt x="314" y="140"/>
                    <a:pt x="322" y="146"/>
                  </a:cubicBezTo>
                  <a:cubicBezTo>
                    <a:pt x="326" y="149"/>
                    <a:pt x="331" y="151"/>
                    <a:pt x="334" y="154"/>
                  </a:cubicBezTo>
                  <a:cubicBezTo>
                    <a:pt x="338" y="157"/>
                    <a:pt x="342" y="161"/>
                    <a:pt x="344" y="165"/>
                  </a:cubicBezTo>
                  <a:cubicBezTo>
                    <a:pt x="348" y="171"/>
                    <a:pt x="349" y="178"/>
                    <a:pt x="347" y="184"/>
                  </a:cubicBezTo>
                  <a:close/>
                </a:path>
              </a:pathLst>
            </a:custGeom>
            <a:solidFill>
              <a:srgbClr val="002050"/>
            </a:solidFill>
            <a:ln w="14288" cap="rnd">
              <a:solidFill>
                <a:srgbClr val="002050"/>
              </a:solidFill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53" name="Freeform 12"/>
            <p:cNvSpPr>
              <a:spLocks/>
            </p:cNvSpPr>
            <p:nvPr/>
          </p:nvSpPr>
          <p:spPr bwMode="auto">
            <a:xfrm>
              <a:off x="3965444" y="1437357"/>
              <a:ext cx="497183" cy="775599"/>
            </a:xfrm>
            <a:custGeom>
              <a:avLst/>
              <a:gdLst>
                <a:gd name="T0" fmla="*/ 35 w 85"/>
                <a:gd name="T1" fmla="*/ 0 h 134"/>
                <a:gd name="T2" fmla="*/ 16 w 85"/>
                <a:gd name="T3" fmla="*/ 9 h 134"/>
                <a:gd name="T4" fmla="*/ 5 w 85"/>
                <a:gd name="T5" fmla="*/ 27 h 134"/>
                <a:gd name="T6" fmla="*/ 2 w 85"/>
                <a:gd name="T7" fmla="*/ 69 h 134"/>
                <a:gd name="T8" fmla="*/ 9 w 85"/>
                <a:gd name="T9" fmla="*/ 107 h 134"/>
                <a:gd name="T10" fmla="*/ 19 w 85"/>
                <a:gd name="T11" fmla="*/ 123 h 134"/>
                <a:gd name="T12" fmla="*/ 36 w 85"/>
                <a:gd name="T13" fmla="*/ 133 h 134"/>
                <a:gd name="T14" fmla="*/ 54 w 85"/>
                <a:gd name="T15" fmla="*/ 132 h 134"/>
                <a:gd name="T16" fmla="*/ 69 w 85"/>
                <a:gd name="T17" fmla="*/ 123 h 134"/>
                <a:gd name="T18" fmla="*/ 82 w 85"/>
                <a:gd name="T19" fmla="*/ 100 h 134"/>
                <a:gd name="T20" fmla="*/ 85 w 85"/>
                <a:gd name="T21" fmla="*/ 74 h 134"/>
                <a:gd name="T22" fmla="*/ 80 w 85"/>
                <a:gd name="T23" fmla="*/ 41 h 134"/>
                <a:gd name="T24" fmla="*/ 63 w 85"/>
                <a:gd name="T25" fmla="*/ 13 h 134"/>
                <a:gd name="T26" fmla="*/ 50 w 85"/>
                <a:gd name="T27" fmla="*/ 3 h 134"/>
                <a:gd name="T28" fmla="*/ 35 w 85"/>
                <a:gd name="T29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134">
                  <a:moveTo>
                    <a:pt x="35" y="0"/>
                  </a:moveTo>
                  <a:cubicBezTo>
                    <a:pt x="28" y="0"/>
                    <a:pt x="21" y="4"/>
                    <a:pt x="16" y="9"/>
                  </a:cubicBezTo>
                  <a:cubicBezTo>
                    <a:pt x="11" y="13"/>
                    <a:pt x="7" y="20"/>
                    <a:pt x="5" y="27"/>
                  </a:cubicBezTo>
                  <a:cubicBezTo>
                    <a:pt x="0" y="40"/>
                    <a:pt x="1" y="55"/>
                    <a:pt x="2" y="69"/>
                  </a:cubicBezTo>
                  <a:cubicBezTo>
                    <a:pt x="3" y="82"/>
                    <a:pt x="4" y="95"/>
                    <a:pt x="9" y="107"/>
                  </a:cubicBezTo>
                  <a:cubicBezTo>
                    <a:pt x="11" y="113"/>
                    <a:pt x="15" y="119"/>
                    <a:pt x="19" y="123"/>
                  </a:cubicBezTo>
                  <a:cubicBezTo>
                    <a:pt x="24" y="128"/>
                    <a:pt x="29" y="131"/>
                    <a:pt x="36" y="133"/>
                  </a:cubicBezTo>
                  <a:cubicBezTo>
                    <a:pt x="42" y="134"/>
                    <a:pt x="48" y="134"/>
                    <a:pt x="54" y="132"/>
                  </a:cubicBezTo>
                  <a:cubicBezTo>
                    <a:pt x="59" y="131"/>
                    <a:pt x="65" y="127"/>
                    <a:pt x="69" y="123"/>
                  </a:cubicBezTo>
                  <a:cubicBezTo>
                    <a:pt x="75" y="117"/>
                    <a:pt x="80" y="109"/>
                    <a:pt x="82" y="100"/>
                  </a:cubicBezTo>
                  <a:cubicBezTo>
                    <a:pt x="84" y="92"/>
                    <a:pt x="85" y="83"/>
                    <a:pt x="85" y="74"/>
                  </a:cubicBezTo>
                  <a:cubicBezTo>
                    <a:pt x="85" y="63"/>
                    <a:pt x="83" y="52"/>
                    <a:pt x="80" y="41"/>
                  </a:cubicBezTo>
                  <a:cubicBezTo>
                    <a:pt x="76" y="31"/>
                    <a:pt x="71" y="21"/>
                    <a:pt x="63" y="13"/>
                  </a:cubicBezTo>
                  <a:cubicBezTo>
                    <a:pt x="60" y="9"/>
                    <a:pt x="55" y="6"/>
                    <a:pt x="50" y="3"/>
                  </a:cubicBezTo>
                  <a:cubicBezTo>
                    <a:pt x="46" y="1"/>
                    <a:pt x="40" y="0"/>
                    <a:pt x="3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56" name="Freeform 13"/>
            <p:cNvSpPr>
              <a:spLocks/>
            </p:cNvSpPr>
            <p:nvPr/>
          </p:nvSpPr>
          <p:spPr bwMode="auto">
            <a:xfrm>
              <a:off x="4721162" y="1377695"/>
              <a:ext cx="656281" cy="815373"/>
            </a:xfrm>
            <a:custGeom>
              <a:avLst/>
              <a:gdLst>
                <a:gd name="T0" fmla="*/ 31 w 116"/>
                <a:gd name="T1" fmla="*/ 9 h 142"/>
                <a:gd name="T2" fmla="*/ 6 w 116"/>
                <a:gd name="T3" fmla="*/ 40 h 142"/>
                <a:gd name="T4" fmla="*/ 8 w 116"/>
                <a:gd name="T5" fmla="*/ 90 h 142"/>
                <a:gd name="T6" fmla="*/ 38 w 116"/>
                <a:gd name="T7" fmla="*/ 132 h 142"/>
                <a:gd name="T8" fmla="*/ 62 w 116"/>
                <a:gd name="T9" fmla="*/ 141 h 142"/>
                <a:gd name="T10" fmla="*/ 87 w 116"/>
                <a:gd name="T11" fmla="*/ 137 h 142"/>
                <a:gd name="T12" fmla="*/ 108 w 116"/>
                <a:gd name="T13" fmla="*/ 114 h 142"/>
                <a:gd name="T14" fmla="*/ 115 w 116"/>
                <a:gd name="T15" fmla="*/ 83 h 142"/>
                <a:gd name="T16" fmla="*/ 110 w 116"/>
                <a:gd name="T17" fmla="*/ 43 h 142"/>
                <a:gd name="T18" fmla="*/ 84 w 116"/>
                <a:gd name="T19" fmla="*/ 8 h 142"/>
                <a:gd name="T20" fmla="*/ 64 w 116"/>
                <a:gd name="T21" fmla="*/ 1 h 142"/>
                <a:gd name="T22" fmla="*/ 42 w 116"/>
                <a:gd name="T23" fmla="*/ 3 h 142"/>
                <a:gd name="T24" fmla="*/ 31 w 116"/>
                <a:gd name="T25" fmla="*/ 9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6" h="142">
                  <a:moveTo>
                    <a:pt x="31" y="9"/>
                  </a:moveTo>
                  <a:cubicBezTo>
                    <a:pt x="20" y="17"/>
                    <a:pt x="11" y="27"/>
                    <a:pt x="6" y="40"/>
                  </a:cubicBezTo>
                  <a:cubicBezTo>
                    <a:pt x="0" y="56"/>
                    <a:pt x="2" y="74"/>
                    <a:pt x="8" y="90"/>
                  </a:cubicBezTo>
                  <a:cubicBezTo>
                    <a:pt x="14" y="106"/>
                    <a:pt x="23" y="122"/>
                    <a:pt x="38" y="132"/>
                  </a:cubicBezTo>
                  <a:cubicBezTo>
                    <a:pt x="45" y="137"/>
                    <a:pt x="53" y="140"/>
                    <a:pt x="62" y="141"/>
                  </a:cubicBezTo>
                  <a:cubicBezTo>
                    <a:pt x="70" y="142"/>
                    <a:pt x="79" y="141"/>
                    <a:pt x="87" y="137"/>
                  </a:cubicBezTo>
                  <a:cubicBezTo>
                    <a:pt x="96" y="132"/>
                    <a:pt x="104" y="124"/>
                    <a:pt x="108" y="114"/>
                  </a:cubicBezTo>
                  <a:cubicBezTo>
                    <a:pt x="113" y="104"/>
                    <a:pt x="114" y="94"/>
                    <a:pt x="115" y="83"/>
                  </a:cubicBezTo>
                  <a:cubicBezTo>
                    <a:pt x="116" y="69"/>
                    <a:pt x="114" y="56"/>
                    <a:pt x="110" y="43"/>
                  </a:cubicBezTo>
                  <a:cubicBezTo>
                    <a:pt x="105" y="29"/>
                    <a:pt x="96" y="16"/>
                    <a:pt x="84" y="8"/>
                  </a:cubicBezTo>
                  <a:cubicBezTo>
                    <a:pt x="78" y="4"/>
                    <a:pt x="71" y="2"/>
                    <a:pt x="64" y="1"/>
                  </a:cubicBezTo>
                  <a:cubicBezTo>
                    <a:pt x="56" y="0"/>
                    <a:pt x="49" y="0"/>
                    <a:pt x="42" y="3"/>
                  </a:cubicBezTo>
                  <a:cubicBezTo>
                    <a:pt x="38" y="5"/>
                    <a:pt x="34" y="7"/>
                    <a:pt x="31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57" name="Freeform 14"/>
            <p:cNvSpPr>
              <a:spLocks/>
            </p:cNvSpPr>
            <p:nvPr/>
          </p:nvSpPr>
          <p:spPr bwMode="auto">
            <a:xfrm>
              <a:off x="4243867" y="1735664"/>
              <a:ext cx="715943" cy="536953"/>
            </a:xfrm>
            <a:custGeom>
              <a:avLst/>
              <a:gdLst>
                <a:gd name="T0" fmla="*/ 18 w 123"/>
                <a:gd name="T1" fmla="*/ 40 h 90"/>
                <a:gd name="T2" fmla="*/ 37 w 123"/>
                <a:gd name="T3" fmla="*/ 14 h 90"/>
                <a:gd name="T4" fmla="*/ 49 w 123"/>
                <a:gd name="T5" fmla="*/ 4 h 90"/>
                <a:gd name="T6" fmla="*/ 64 w 123"/>
                <a:gd name="T7" fmla="*/ 0 h 90"/>
                <a:gd name="T8" fmla="*/ 80 w 123"/>
                <a:gd name="T9" fmla="*/ 7 h 90"/>
                <a:gd name="T10" fmla="*/ 90 w 123"/>
                <a:gd name="T11" fmla="*/ 22 h 90"/>
                <a:gd name="T12" fmla="*/ 98 w 123"/>
                <a:gd name="T13" fmla="*/ 37 h 90"/>
                <a:gd name="T14" fmla="*/ 112 w 123"/>
                <a:gd name="T15" fmla="*/ 49 h 90"/>
                <a:gd name="T16" fmla="*/ 118 w 123"/>
                <a:gd name="T17" fmla="*/ 55 h 90"/>
                <a:gd name="T18" fmla="*/ 122 w 123"/>
                <a:gd name="T19" fmla="*/ 63 h 90"/>
                <a:gd name="T20" fmla="*/ 122 w 123"/>
                <a:gd name="T21" fmla="*/ 72 h 90"/>
                <a:gd name="T22" fmla="*/ 117 w 123"/>
                <a:gd name="T23" fmla="*/ 80 h 90"/>
                <a:gd name="T24" fmla="*/ 100 w 123"/>
                <a:gd name="T25" fmla="*/ 87 h 90"/>
                <a:gd name="T26" fmla="*/ 63 w 123"/>
                <a:gd name="T27" fmla="*/ 86 h 90"/>
                <a:gd name="T28" fmla="*/ 26 w 123"/>
                <a:gd name="T29" fmla="*/ 90 h 90"/>
                <a:gd name="T30" fmla="*/ 9 w 123"/>
                <a:gd name="T31" fmla="*/ 85 h 90"/>
                <a:gd name="T32" fmla="*/ 2 w 123"/>
                <a:gd name="T33" fmla="*/ 78 h 90"/>
                <a:gd name="T34" fmla="*/ 0 w 123"/>
                <a:gd name="T35" fmla="*/ 69 h 90"/>
                <a:gd name="T36" fmla="*/ 1 w 123"/>
                <a:gd name="T37" fmla="*/ 60 h 90"/>
                <a:gd name="T38" fmla="*/ 6 w 123"/>
                <a:gd name="T39" fmla="*/ 53 h 90"/>
                <a:gd name="T40" fmla="*/ 18 w 123"/>
                <a:gd name="T41" fmla="*/ 4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90">
                  <a:moveTo>
                    <a:pt x="18" y="40"/>
                  </a:moveTo>
                  <a:cubicBezTo>
                    <a:pt x="25" y="32"/>
                    <a:pt x="30" y="22"/>
                    <a:pt x="37" y="14"/>
                  </a:cubicBezTo>
                  <a:cubicBezTo>
                    <a:pt x="40" y="10"/>
                    <a:pt x="44" y="6"/>
                    <a:pt x="49" y="4"/>
                  </a:cubicBezTo>
                  <a:cubicBezTo>
                    <a:pt x="54" y="1"/>
                    <a:pt x="59" y="0"/>
                    <a:pt x="64" y="0"/>
                  </a:cubicBezTo>
                  <a:cubicBezTo>
                    <a:pt x="70" y="1"/>
                    <a:pt x="76" y="3"/>
                    <a:pt x="80" y="7"/>
                  </a:cubicBezTo>
                  <a:cubicBezTo>
                    <a:pt x="84" y="12"/>
                    <a:pt x="88" y="17"/>
                    <a:pt x="90" y="22"/>
                  </a:cubicBezTo>
                  <a:cubicBezTo>
                    <a:pt x="93" y="27"/>
                    <a:pt x="94" y="33"/>
                    <a:pt x="98" y="37"/>
                  </a:cubicBezTo>
                  <a:cubicBezTo>
                    <a:pt x="102" y="42"/>
                    <a:pt x="107" y="45"/>
                    <a:pt x="112" y="49"/>
                  </a:cubicBezTo>
                  <a:cubicBezTo>
                    <a:pt x="114" y="51"/>
                    <a:pt x="116" y="53"/>
                    <a:pt x="118" y="55"/>
                  </a:cubicBezTo>
                  <a:cubicBezTo>
                    <a:pt x="120" y="57"/>
                    <a:pt x="122" y="60"/>
                    <a:pt x="122" y="63"/>
                  </a:cubicBezTo>
                  <a:cubicBezTo>
                    <a:pt x="123" y="66"/>
                    <a:pt x="123" y="69"/>
                    <a:pt x="122" y="72"/>
                  </a:cubicBezTo>
                  <a:cubicBezTo>
                    <a:pt x="121" y="75"/>
                    <a:pt x="119" y="78"/>
                    <a:pt x="117" y="80"/>
                  </a:cubicBezTo>
                  <a:cubicBezTo>
                    <a:pt x="112" y="84"/>
                    <a:pt x="106" y="86"/>
                    <a:pt x="100" y="87"/>
                  </a:cubicBezTo>
                  <a:cubicBezTo>
                    <a:pt x="88" y="89"/>
                    <a:pt x="76" y="85"/>
                    <a:pt x="63" y="86"/>
                  </a:cubicBezTo>
                  <a:cubicBezTo>
                    <a:pt x="51" y="86"/>
                    <a:pt x="39" y="90"/>
                    <a:pt x="26" y="90"/>
                  </a:cubicBezTo>
                  <a:cubicBezTo>
                    <a:pt x="20" y="90"/>
                    <a:pt x="14" y="88"/>
                    <a:pt x="9" y="85"/>
                  </a:cubicBezTo>
                  <a:cubicBezTo>
                    <a:pt x="6" y="83"/>
                    <a:pt x="4" y="80"/>
                    <a:pt x="2" y="78"/>
                  </a:cubicBezTo>
                  <a:cubicBezTo>
                    <a:pt x="1" y="75"/>
                    <a:pt x="0" y="72"/>
                    <a:pt x="0" y="69"/>
                  </a:cubicBezTo>
                  <a:cubicBezTo>
                    <a:pt x="0" y="66"/>
                    <a:pt x="0" y="63"/>
                    <a:pt x="1" y="60"/>
                  </a:cubicBezTo>
                  <a:cubicBezTo>
                    <a:pt x="3" y="58"/>
                    <a:pt x="4" y="55"/>
                    <a:pt x="6" y="53"/>
                  </a:cubicBezTo>
                  <a:cubicBezTo>
                    <a:pt x="10" y="48"/>
                    <a:pt x="14" y="44"/>
                    <a:pt x="18" y="4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58" name="Freeform 15"/>
            <p:cNvSpPr>
              <a:spLocks/>
            </p:cNvSpPr>
            <p:nvPr/>
          </p:nvSpPr>
          <p:spPr bwMode="auto">
            <a:xfrm>
              <a:off x="5675752" y="2749909"/>
              <a:ext cx="1451773" cy="2804088"/>
            </a:xfrm>
            <a:custGeom>
              <a:avLst/>
              <a:gdLst>
                <a:gd name="T0" fmla="*/ 101 w 249"/>
                <a:gd name="T1" fmla="*/ 183 h 485"/>
                <a:gd name="T2" fmla="*/ 146 w 249"/>
                <a:gd name="T3" fmla="*/ 263 h 485"/>
                <a:gd name="T4" fmla="*/ 142 w 249"/>
                <a:gd name="T5" fmla="*/ 336 h 485"/>
                <a:gd name="T6" fmla="*/ 120 w 249"/>
                <a:gd name="T7" fmla="*/ 405 h 485"/>
                <a:gd name="T8" fmla="*/ 112 w 249"/>
                <a:gd name="T9" fmla="*/ 433 h 485"/>
                <a:gd name="T10" fmla="*/ 116 w 249"/>
                <a:gd name="T11" fmla="*/ 462 h 485"/>
                <a:gd name="T12" fmla="*/ 142 w 249"/>
                <a:gd name="T13" fmla="*/ 482 h 485"/>
                <a:gd name="T14" fmla="*/ 174 w 249"/>
                <a:gd name="T15" fmla="*/ 482 h 485"/>
                <a:gd name="T16" fmla="*/ 204 w 249"/>
                <a:gd name="T17" fmla="*/ 467 h 485"/>
                <a:gd name="T18" fmla="*/ 244 w 249"/>
                <a:gd name="T19" fmla="*/ 396 h 485"/>
                <a:gd name="T20" fmla="*/ 242 w 249"/>
                <a:gd name="T21" fmla="*/ 313 h 485"/>
                <a:gd name="T22" fmla="*/ 211 w 249"/>
                <a:gd name="T23" fmla="*/ 203 h 485"/>
                <a:gd name="T24" fmla="*/ 172 w 249"/>
                <a:gd name="T25" fmla="*/ 129 h 485"/>
                <a:gd name="T26" fmla="*/ 118 w 249"/>
                <a:gd name="T27" fmla="*/ 66 h 485"/>
                <a:gd name="T28" fmla="*/ 85 w 249"/>
                <a:gd name="T29" fmla="*/ 20 h 485"/>
                <a:gd name="T30" fmla="*/ 61 w 249"/>
                <a:gd name="T31" fmla="*/ 4 h 485"/>
                <a:gd name="T32" fmla="*/ 33 w 249"/>
                <a:gd name="T33" fmla="*/ 3 h 485"/>
                <a:gd name="T34" fmla="*/ 6 w 249"/>
                <a:gd name="T35" fmla="*/ 27 h 485"/>
                <a:gd name="T36" fmla="*/ 2 w 249"/>
                <a:gd name="T37" fmla="*/ 64 h 485"/>
                <a:gd name="T38" fmla="*/ 20 w 249"/>
                <a:gd name="T39" fmla="*/ 108 h 485"/>
                <a:gd name="T40" fmla="*/ 54 w 249"/>
                <a:gd name="T41" fmla="*/ 151 h 485"/>
                <a:gd name="T42" fmla="*/ 101 w 249"/>
                <a:gd name="T43" fmla="*/ 183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9" h="485">
                  <a:moveTo>
                    <a:pt x="101" y="183"/>
                  </a:moveTo>
                  <a:cubicBezTo>
                    <a:pt x="126" y="203"/>
                    <a:pt x="141" y="232"/>
                    <a:pt x="146" y="263"/>
                  </a:cubicBezTo>
                  <a:cubicBezTo>
                    <a:pt x="150" y="287"/>
                    <a:pt x="147" y="312"/>
                    <a:pt x="142" y="336"/>
                  </a:cubicBezTo>
                  <a:cubicBezTo>
                    <a:pt x="136" y="360"/>
                    <a:pt x="128" y="383"/>
                    <a:pt x="120" y="405"/>
                  </a:cubicBezTo>
                  <a:cubicBezTo>
                    <a:pt x="116" y="415"/>
                    <a:pt x="113" y="424"/>
                    <a:pt x="112" y="433"/>
                  </a:cubicBezTo>
                  <a:cubicBezTo>
                    <a:pt x="110" y="443"/>
                    <a:pt x="111" y="453"/>
                    <a:pt x="116" y="462"/>
                  </a:cubicBezTo>
                  <a:cubicBezTo>
                    <a:pt x="121" y="472"/>
                    <a:pt x="131" y="478"/>
                    <a:pt x="142" y="482"/>
                  </a:cubicBezTo>
                  <a:cubicBezTo>
                    <a:pt x="152" y="485"/>
                    <a:pt x="164" y="485"/>
                    <a:pt x="174" y="482"/>
                  </a:cubicBezTo>
                  <a:cubicBezTo>
                    <a:pt x="185" y="479"/>
                    <a:pt x="195" y="474"/>
                    <a:pt x="204" y="467"/>
                  </a:cubicBezTo>
                  <a:cubicBezTo>
                    <a:pt x="226" y="450"/>
                    <a:pt x="239" y="424"/>
                    <a:pt x="244" y="396"/>
                  </a:cubicBezTo>
                  <a:cubicBezTo>
                    <a:pt x="249" y="369"/>
                    <a:pt x="247" y="340"/>
                    <a:pt x="242" y="313"/>
                  </a:cubicBezTo>
                  <a:cubicBezTo>
                    <a:pt x="236" y="275"/>
                    <a:pt x="225" y="239"/>
                    <a:pt x="211" y="203"/>
                  </a:cubicBezTo>
                  <a:cubicBezTo>
                    <a:pt x="200" y="177"/>
                    <a:pt x="188" y="151"/>
                    <a:pt x="172" y="129"/>
                  </a:cubicBezTo>
                  <a:cubicBezTo>
                    <a:pt x="155" y="107"/>
                    <a:pt x="134" y="89"/>
                    <a:pt x="118" y="66"/>
                  </a:cubicBezTo>
                  <a:cubicBezTo>
                    <a:pt x="107" y="51"/>
                    <a:pt x="98" y="34"/>
                    <a:pt x="85" y="20"/>
                  </a:cubicBezTo>
                  <a:cubicBezTo>
                    <a:pt x="78" y="14"/>
                    <a:pt x="70" y="8"/>
                    <a:pt x="61" y="4"/>
                  </a:cubicBezTo>
                  <a:cubicBezTo>
                    <a:pt x="52" y="1"/>
                    <a:pt x="42" y="0"/>
                    <a:pt x="33" y="3"/>
                  </a:cubicBezTo>
                  <a:cubicBezTo>
                    <a:pt x="21" y="6"/>
                    <a:pt x="11" y="15"/>
                    <a:pt x="6" y="27"/>
                  </a:cubicBezTo>
                  <a:cubicBezTo>
                    <a:pt x="1" y="38"/>
                    <a:pt x="0" y="51"/>
                    <a:pt x="2" y="64"/>
                  </a:cubicBezTo>
                  <a:cubicBezTo>
                    <a:pt x="4" y="80"/>
                    <a:pt x="12" y="95"/>
                    <a:pt x="20" y="108"/>
                  </a:cubicBezTo>
                  <a:cubicBezTo>
                    <a:pt x="29" y="124"/>
                    <a:pt x="40" y="139"/>
                    <a:pt x="54" y="151"/>
                  </a:cubicBezTo>
                  <a:cubicBezTo>
                    <a:pt x="69" y="163"/>
                    <a:pt x="87" y="171"/>
                    <a:pt x="101" y="183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59" name="Freeform 16"/>
            <p:cNvSpPr>
              <a:spLocks/>
            </p:cNvSpPr>
            <p:nvPr/>
          </p:nvSpPr>
          <p:spPr bwMode="auto">
            <a:xfrm>
              <a:off x="5675751" y="5215917"/>
              <a:ext cx="2008618" cy="2068264"/>
            </a:xfrm>
            <a:custGeom>
              <a:avLst/>
              <a:gdLst>
                <a:gd name="T0" fmla="*/ 345 w 347"/>
                <a:gd name="T1" fmla="*/ 184 h 358"/>
                <a:gd name="T2" fmla="*/ 334 w 347"/>
                <a:gd name="T3" fmla="*/ 203 h 358"/>
                <a:gd name="T4" fmla="*/ 294 w 347"/>
                <a:gd name="T5" fmla="*/ 231 h 358"/>
                <a:gd name="T6" fmla="*/ 220 w 347"/>
                <a:gd name="T7" fmla="*/ 270 h 358"/>
                <a:gd name="T8" fmla="*/ 177 w 347"/>
                <a:gd name="T9" fmla="*/ 305 h 358"/>
                <a:gd name="T10" fmla="*/ 142 w 347"/>
                <a:gd name="T11" fmla="*/ 337 h 358"/>
                <a:gd name="T12" fmla="*/ 98 w 347"/>
                <a:gd name="T13" fmla="*/ 356 h 358"/>
                <a:gd name="T14" fmla="*/ 41 w 347"/>
                <a:gd name="T15" fmla="*/ 347 h 358"/>
                <a:gd name="T16" fmla="*/ 9 w 347"/>
                <a:gd name="T17" fmla="*/ 322 h 358"/>
                <a:gd name="T18" fmla="*/ 0 w 347"/>
                <a:gd name="T19" fmla="*/ 282 h 358"/>
                <a:gd name="T20" fmla="*/ 8 w 347"/>
                <a:gd name="T21" fmla="*/ 210 h 358"/>
                <a:gd name="T22" fmla="*/ 18 w 347"/>
                <a:gd name="T23" fmla="*/ 150 h 358"/>
                <a:gd name="T24" fmla="*/ 19 w 347"/>
                <a:gd name="T25" fmla="*/ 40 h 358"/>
                <a:gd name="T26" fmla="*/ 19 w 347"/>
                <a:gd name="T27" fmla="*/ 22 h 358"/>
                <a:gd name="T28" fmla="*/ 27 w 347"/>
                <a:gd name="T29" fmla="*/ 6 h 358"/>
                <a:gd name="T30" fmla="*/ 43 w 347"/>
                <a:gd name="T31" fmla="*/ 0 h 358"/>
                <a:gd name="T32" fmla="*/ 60 w 347"/>
                <a:gd name="T33" fmla="*/ 1 h 358"/>
                <a:gd name="T34" fmla="*/ 99 w 347"/>
                <a:gd name="T35" fmla="*/ 8 h 358"/>
                <a:gd name="T36" fmla="*/ 123 w 347"/>
                <a:gd name="T37" fmla="*/ 15 h 358"/>
                <a:gd name="T38" fmla="*/ 165 w 347"/>
                <a:gd name="T39" fmla="*/ 19 h 358"/>
                <a:gd name="T40" fmla="*/ 210 w 347"/>
                <a:gd name="T41" fmla="*/ 12 h 358"/>
                <a:gd name="T42" fmla="*/ 229 w 347"/>
                <a:gd name="T43" fmla="*/ 15 h 358"/>
                <a:gd name="T44" fmla="*/ 245 w 347"/>
                <a:gd name="T45" fmla="*/ 24 h 358"/>
                <a:gd name="T46" fmla="*/ 253 w 347"/>
                <a:gd name="T47" fmla="*/ 37 h 358"/>
                <a:gd name="T48" fmla="*/ 257 w 347"/>
                <a:gd name="T49" fmla="*/ 58 h 358"/>
                <a:gd name="T50" fmla="*/ 259 w 347"/>
                <a:gd name="T51" fmla="*/ 77 h 358"/>
                <a:gd name="T52" fmla="*/ 273 w 347"/>
                <a:gd name="T53" fmla="*/ 105 h 358"/>
                <a:gd name="T54" fmla="*/ 296 w 347"/>
                <a:gd name="T55" fmla="*/ 126 h 358"/>
                <a:gd name="T56" fmla="*/ 320 w 347"/>
                <a:gd name="T57" fmla="*/ 145 h 358"/>
                <a:gd name="T58" fmla="*/ 333 w 347"/>
                <a:gd name="T59" fmla="*/ 154 h 358"/>
                <a:gd name="T60" fmla="*/ 342 w 347"/>
                <a:gd name="T61" fmla="*/ 165 h 358"/>
                <a:gd name="T62" fmla="*/ 345 w 347"/>
                <a:gd name="T63" fmla="*/ 184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7" h="358">
                  <a:moveTo>
                    <a:pt x="345" y="184"/>
                  </a:moveTo>
                  <a:cubicBezTo>
                    <a:pt x="342" y="191"/>
                    <a:pt x="339" y="197"/>
                    <a:pt x="334" y="203"/>
                  </a:cubicBezTo>
                  <a:cubicBezTo>
                    <a:pt x="323" y="215"/>
                    <a:pt x="309" y="224"/>
                    <a:pt x="294" y="231"/>
                  </a:cubicBezTo>
                  <a:cubicBezTo>
                    <a:pt x="269" y="244"/>
                    <a:pt x="244" y="255"/>
                    <a:pt x="220" y="270"/>
                  </a:cubicBezTo>
                  <a:cubicBezTo>
                    <a:pt x="205" y="280"/>
                    <a:pt x="191" y="292"/>
                    <a:pt x="177" y="305"/>
                  </a:cubicBezTo>
                  <a:cubicBezTo>
                    <a:pt x="166" y="316"/>
                    <a:pt x="155" y="328"/>
                    <a:pt x="142" y="337"/>
                  </a:cubicBezTo>
                  <a:cubicBezTo>
                    <a:pt x="129" y="346"/>
                    <a:pt x="114" y="353"/>
                    <a:pt x="98" y="356"/>
                  </a:cubicBezTo>
                  <a:cubicBezTo>
                    <a:pt x="78" y="358"/>
                    <a:pt x="58" y="355"/>
                    <a:pt x="41" y="347"/>
                  </a:cubicBezTo>
                  <a:cubicBezTo>
                    <a:pt x="28" y="341"/>
                    <a:pt x="16" y="334"/>
                    <a:pt x="9" y="322"/>
                  </a:cubicBezTo>
                  <a:cubicBezTo>
                    <a:pt x="1" y="310"/>
                    <a:pt x="0" y="296"/>
                    <a:pt x="0" y="282"/>
                  </a:cubicBezTo>
                  <a:cubicBezTo>
                    <a:pt x="0" y="258"/>
                    <a:pt x="4" y="234"/>
                    <a:pt x="8" y="210"/>
                  </a:cubicBezTo>
                  <a:cubicBezTo>
                    <a:pt x="12" y="190"/>
                    <a:pt x="15" y="170"/>
                    <a:pt x="18" y="150"/>
                  </a:cubicBezTo>
                  <a:cubicBezTo>
                    <a:pt x="21" y="114"/>
                    <a:pt x="21" y="77"/>
                    <a:pt x="19" y="40"/>
                  </a:cubicBezTo>
                  <a:cubicBezTo>
                    <a:pt x="18" y="34"/>
                    <a:pt x="18" y="28"/>
                    <a:pt x="19" y="22"/>
                  </a:cubicBezTo>
                  <a:cubicBezTo>
                    <a:pt x="20" y="16"/>
                    <a:pt x="22" y="10"/>
                    <a:pt x="27" y="6"/>
                  </a:cubicBezTo>
                  <a:cubicBezTo>
                    <a:pt x="31" y="2"/>
                    <a:pt x="37" y="0"/>
                    <a:pt x="43" y="0"/>
                  </a:cubicBezTo>
                  <a:cubicBezTo>
                    <a:pt x="48" y="0"/>
                    <a:pt x="54" y="0"/>
                    <a:pt x="60" y="1"/>
                  </a:cubicBezTo>
                  <a:cubicBezTo>
                    <a:pt x="73" y="3"/>
                    <a:pt x="86" y="5"/>
                    <a:pt x="99" y="8"/>
                  </a:cubicBezTo>
                  <a:cubicBezTo>
                    <a:pt x="107" y="10"/>
                    <a:pt x="115" y="13"/>
                    <a:pt x="123" y="15"/>
                  </a:cubicBezTo>
                  <a:cubicBezTo>
                    <a:pt x="137" y="19"/>
                    <a:pt x="151" y="21"/>
                    <a:pt x="165" y="19"/>
                  </a:cubicBezTo>
                  <a:cubicBezTo>
                    <a:pt x="180" y="17"/>
                    <a:pt x="195" y="12"/>
                    <a:pt x="210" y="12"/>
                  </a:cubicBezTo>
                  <a:cubicBezTo>
                    <a:pt x="216" y="12"/>
                    <a:pt x="223" y="13"/>
                    <a:pt x="229" y="15"/>
                  </a:cubicBezTo>
                  <a:cubicBezTo>
                    <a:pt x="235" y="17"/>
                    <a:pt x="241" y="20"/>
                    <a:pt x="245" y="24"/>
                  </a:cubicBezTo>
                  <a:cubicBezTo>
                    <a:pt x="248" y="28"/>
                    <a:pt x="251" y="32"/>
                    <a:pt x="253" y="37"/>
                  </a:cubicBezTo>
                  <a:cubicBezTo>
                    <a:pt x="255" y="43"/>
                    <a:pt x="257" y="51"/>
                    <a:pt x="257" y="58"/>
                  </a:cubicBezTo>
                  <a:cubicBezTo>
                    <a:pt x="258" y="64"/>
                    <a:pt x="258" y="71"/>
                    <a:pt x="259" y="77"/>
                  </a:cubicBezTo>
                  <a:cubicBezTo>
                    <a:pt x="261" y="87"/>
                    <a:pt x="266" y="96"/>
                    <a:pt x="273" y="105"/>
                  </a:cubicBezTo>
                  <a:cubicBezTo>
                    <a:pt x="280" y="113"/>
                    <a:pt x="288" y="119"/>
                    <a:pt x="296" y="126"/>
                  </a:cubicBezTo>
                  <a:cubicBezTo>
                    <a:pt x="304" y="133"/>
                    <a:pt x="312" y="140"/>
                    <a:pt x="320" y="145"/>
                  </a:cubicBezTo>
                  <a:cubicBezTo>
                    <a:pt x="324" y="148"/>
                    <a:pt x="329" y="151"/>
                    <a:pt x="333" y="154"/>
                  </a:cubicBezTo>
                  <a:cubicBezTo>
                    <a:pt x="336" y="157"/>
                    <a:pt x="340" y="160"/>
                    <a:pt x="342" y="165"/>
                  </a:cubicBezTo>
                  <a:cubicBezTo>
                    <a:pt x="346" y="171"/>
                    <a:pt x="347" y="178"/>
                    <a:pt x="345" y="1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60" name="Freeform 17"/>
            <p:cNvSpPr>
              <a:spLocks/>
            </p:cNvSpPr>
            <p:nvPr/>
          </p:nvSpPr>
          <p:spPr bwMode="auto">
            <a:xfrm>
              <a:off x="5934287" y="3605056"/>
              <a:ext cx="656281" cy="1869392"/>
            </a:xfrm>
            <a:custGeom>
              <a:avLst/>
              <a:gdLst>
                <a:gd name="T0" fmla="*/ 0 w 114"/>
                <a:gd name="T1" fmla="*/ 0 h 324"/>
                <a:gd name="T2" fmla="*/ 6 w 114"/>
                <a:gd name="T3" fmla="*/ 5 h 324"/>
                <a:gd name="T4" fmla="*/ 44 w 114"/>
                <a:gd name="T5" fmla="*/ 43 h 324"/>
                <a:gd name="T6" fmla="*/ 99 w 114"/>
                <a:gd name="T7" fmla="*/ 127 h 324"/>
                <a:gd name="T8" fmla="*/ 92 w 114"/>
                <a:gd name="T9" fmla="*/ 193 h 324"/>
                <a:gd name="T10" fmla="*/ 59 w 114"/>
                <a:gd name="T11" fmla="*/ 289 h 324"/>
                <a:gd name="T12" fmla="*/ 65 w 114"/>
                <a:gd name="T13" fmla="*/ 307 h 324"/>
                <a:gd name="T14" fmla="*/ 65 w 114"/>
                <a:gd name="T15" fmla="*/ 324 h 324"/>
                <a:gd name="T16" fmla="*/ 65 w 114"/>
                <a:gd name="T17" fmla="*/ 320 h 324"/>
                <a:gd name="T18" fmla="*/ 77 w 114"/>
                <a:gd name="T19" fmla="*/ 275 h 324"/>
                <a:gd name="T20" fmla="*/ 107 w 114"/>
                <a:gd name="T21" fmla="*/ 189 h 324"/>
                <a:gd name="T22" fmla="*/ 109 w 114"/>
                <a:gd name="T23" fmla="*/ 114 h 324"/>
                <a:gd name="T24" fmla="*/ 60 w 114"/>
                <a:gd name="T25" fmla="*/ 34 h 324"/>
                <a:gd name="T26" fmla="*/ 0 w 114"/>
                <a:gd name="T27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4" h="324">
                  <a:moveTo>
                    <a:pt x="0" y="0"/>
                  </a:moveTo>
                  <a:cubicBezTo>
                    <a:pt x="2" y="1"/>
                    <a:pt x="4" y="3"/>
                    <a:pt x="6" y="5"/>
                  </a:cubicBezTo>
                  <a:cubicBezTo>
                    <a:pt x="21" y="17"/>
                    <a:pt x="29" y="31"/>
                    <a:pt x="44" y="43"/>
                  </a:cubicBezTo>
                  <a:cubicBezTo>
                    <a:pt x="69" y="63"/>
                    <a:pt x="94" y="96"/>
                    <a:pt x="99" y="127"/>
                  </a:cubicBezTo>
                  <a:cubicBezTo>
                    <a:pt x="103" y="151"/>
                    <a:pt x="98" y="164"/>
                    <a:pt x="92" y="193"/>
                  </a:cubicBezTo>
                  <a:cubicBezTo>
                    <a:pt x="86" y="221"/>
                    <a:pt x="68" y="261"/>
                    <a:pt x="59" y="289"/>
                  </a:cubicBezTo>
                  <a:cubicBezTo>
                    <a:pt x="55" y="300"/>
                    <a:pt x="66" y="295"/>
                    <a:pt x="65" y="307"/>
                  </a:cubicBezTo>
                  <a:cubicBezTo>
                    <a:pt x="64" y="312"/>
                    <a:pt x="64" y="318"/>
                    <a:pt x="65" y="324"/>
                  </a:cubicBezTo>
                  <a:cubicBezTo>
                    <a:pt x="65" y="323"/>
                    <a:pt x="65" y="322"/>
                    <a:pt x="65" y="320"/>
                  </a:cubicBezTo>
                  <a:cubicBezTo>
                    <a:pt x="67" y="305"/>
                    <a:pt x="72" y="290"/>
                    <a:pt x="77" y="275"/>
                  </a:cubicBezTo>
                  <a:cubicBezTo>
                    <a:pt x="87" y="246"/>
                    <a:pt x="99" y="218"/>
                    <a:pt x="107" y="189"/>
                  </a:cubicBezTo>
                  <a:cubicBezTo>
                    <a:pt x="114" y="160"/>
                    <a:pt x="114" y="139"/>
                    <a:pt x="109" y="114"/>
                  </a:cubicBezTo>
                  <a:cubicBezTo>
                    <a:pt x="104" y="82"/>
                    <a:pt x="86" y="53"/>
                    <a:pt x="60" y="34"/>
                  </a:cubicBezTo>
                  <a:cubicBezTo>
                    <a:pt x="41" y="20"/>
                    <a:pt x="20" y="12"/>
                    <a:pt x="0" y="0"/>
                  </a:cubicBezTo>
                  <a:close/>
                </a:path>
              </a:pathLst>
            </a:custGeom>
            <a:solidFill>
              <a:srgbClr val="FDFD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61" name="Freeform 18"/>
            <p:cNvSpPr>
              <a:spLocks/>
            </p:cNvSpPr>
            <p:nvPr/>
          </p:nvSpPr>
          <p:spPr bwMode="auto">
            <a:xfrm>
              <a:off x="6153047" y="4997157"/>
              <a:ext cx="835266" cy="696051"/>
            </a:xfrm>
            <a:custGeom>
              <a:avLst/>
              <a:gdLst>
                <a:gd name="T0" fmla="*/ 144 w 146"/>
                <a:gd name="T1" fmla="*/ 33 h 120"/>
                <a:gd name="T2" fmla="*/ 136 w 146"/>
                <a:gd name="T3" fmla="*/ 21 h 120"/>
                <a:gd name="T4" fmla="*/ 124 w 146"/>
                <a:gd name="T5" fmla="*/ 14 h 120"/>
                <a:gd name="T6" fmla="*/ 97 w 146"/>
                <a:gd name="T7" fmla="*/ 7 h 120"/>
                <a:gd name="T8" fmla="*/ 70 w 146"/>
                <a:gd name="T9" fmla="*/ 2 h 120"/>
                <a:gd name="T10" fmla="*/ 43 w 146"/>
                <a:gd name="T11" fmla="*/ 2 h 120"/>
                <a:gd name="T12" fmla="*/ 22 w 146"/>
                <a:gd name="T13" fmla="*/ 13 h 120"/>
                <a:gd name="T14" fmla="*/ 8 w 146"/>
                <a:gd name="T15" fmla="*/ 32 h 120"/>
                <a:gd name="T16" fmla="*/ 1 w 146"/>
                <a:gd name="T17" fmla="*/ 74 h 120"/>
                <a:gd name="T18" fmla="*/ 12 w 146"/>
                <a:gd name="T19" fmla="*/ 103 h 120"/>
                <a:gd name="T20" fmla="*/ 33 w 146"/>
                <a:gd name="T21" fmla="*/ 116 h 120"/>
                <a:gd name="T22" fmla="*/ 77 w 146"/>
                <a:gd name="T23" fmla="*/ 116 h 120"/>
                <a:gd name="T24" fmla="*/ 134 w 146"/>
                <a:gd name="T25" fmla="*/ 73 h 120"/>
                <a:gd name="T26" fmla="*/ 144 w 146"/>
                <a:gd name="T27" fmla="*/ 51 h 120"/>
                <a:gd name="T28" fmla="*/ 144 w 146"/>
                <a:gd name="T29" fmla="*/ 3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6" h="120">
                  <a:moveTo>
                    <a:pt x="144" y="33"/>
                  </a:moveTo>
                  <a:cubicBezTo>
                    <a:pt x="142" y="28"/>
                    <a:pt x="139" y="25"/>
                    <a:pt x="136" y="21"/>
                  </a:cubicBezTo>
                  <a:cubicBezTo>
                    <a:pt x="132" y="18"/>
                    <a:pt x="128" y="16"/>
                    <a:pt x="124" y="14"/>
                  </a:cubicBezTo>
                  <a:cubicBezTo>
                    <a:pt x="115" y="10"/>
                    <a:pt x="106" y="9"/>
                    <a:pt x="97" y="7"/>
                  </a:cubicBezTo>
                  <a:cubicBezTo>
                    <a:pt x="88" y="6"/>
                    <a:pt x="79" y="4"/>
                    <a:pt x="70" y="2"/>
                  </a:cubicBezTo>
                  <a:cubicBezTo>
                    <a:pt x="61" y="1"/>
                    <a:pt x="52" y="0"/>
                    <a:pt x="43" y="2"/>
                  </a:cubicBezTo>
                  <a:cubicBezTo>
                    <a:pt x="35" y="3"/>
                    <a:pt x="28" y="7"/>
                    <a:pt x="22" y="13"/>
                  </a:cubicBezTo>
                  <a:cubicBezTo>
                    <a:pt x="16" y="18"/>
                    <a:pt x="11" y="25"/>
                    <a:pt x="8" y="32"/>
                  </a:cubicBezTo>
                  <a:cubicBezTo>
                    <a:pt x="2" y="45"/>
                    <a:pt x="0" y="60"/>
                    <a:pt x="1" y="74"/>
                  </a:cubicBezTo>
                  <a:cubicBezTo>
                    <a:pt x="2" y="85"/>
                    <a:pt x="5" y="95"/>
                    <a:pt x="12" y="103"/>
                  </a:cubicBezTo>
                  <a:cubicBezTo>
                    <a:pt x="17" y="110"/>
                    <a:pt x="25" y="114"/>
                    <a:pt x="33" y="116"/>
                  </a:cubicBezTo>
                  <a:cubicBezTo>
                    <a:pt x="48" y="120"/>
                    <a:pt x="63" y="120"/>
                    <a:pt x="77" y="116"/>
                  </a:cubicBezTo>
                  <a:cubicBezTo>
                    <a:pt x="100" y="108"/>
                    <a:pt x="120" y="93"/>
                    <a:pt x="134" y="73"/>
                  </a:cubicBezTo>
                  <a:cubicBezTo>
                    <a:pt x="139" y="66"/>
                    <a:pt x="143" y="59"/>
                    <a:pt x="144" y="51"/>
                  </a:cubicBezTo>
                  <a:cubicBezTo>
                    <a:pt x="146" y="45"/>
                    <a:pt x="146" y="39"/>
                    <a:pt x="144" y="33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62" name="Freeform 19"/>
            <p:cNvSpPr>
              <a:spLocks/>
            </p:cNvSpPr>
            <p:nvPr/>
          </p:nvSpPr>
          <p:spPr bwMode="auto">
            <a:xfrm>
              <a:off x="6192822" y="4977270"/>
              <a:ext cx="596619" cy="198872"/>
            </a:xfrm>
            <a:custGeom>
              <a:avLst/>
              <a:gdLst>
                <a:gd name="T0" fmla="*/ 35 w 104"/>
                <a:gd name="T1" fmla="*/ 3 h 35"/>
                <a:gd name="T2" fmla="*/ 2 w 104"/>
                <a:gd name="T3" fmla="*/ 26 h 35"/>
                <a:gd name="T4" fmla="*/ 0 w 104"/>
                <a:gd name="T5" fmla="*/ 35 h 35"/>
                <a:gd name="T6" fmla="*/ 8 w 104"/>
                <a:gd name="T7" fmla="*/ 31 h 35"/>
                <a:gd name="T8" fmla="*/ 26 w 104"/>
                <a:gd name="T9" fmla="*/ 20 h 35"/>
                <a:gd name="T10" fmla="*/ 51 w 104"/>
                <a:gd name="T11" fmla="*/ 14 h 35"/>
                <a:gd name="T12" fmla="*/ 69 w 104"/>
                <a:gd name="T13" fmla="*/ 13 h 35"/>
                <a:gd name="T14" fmla="*/ 104 w 104"/>
                <a:gd name="T15" fmla="*/ 14 h 35"/>
                <a:gd name="T16" fmla="*/ 80 w 104"/>
                <a:gd name="T17" fmla="*/ 6 h 35"/>
                <a:gd name="T18" fmla="*/ 58 w 104"/>
                <a:gd name="T19" fmla="*/ 1 h 35"/>
                <a:gd name="T20" fmla="*/ 35 w 104"/>
                <a:gd name="T21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35">
                  <a:moveTo>
                    <a:pt x="35" y="3"/>
                  </a:moveTo>
                  <a:cubicBezTo>
                    <a:pt x="2" y="26"/>
                    <a:pt x="2" y="26"/>
                    <a:pt x="2" y="2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4"/>
                    <a:pt x="6" y="32"/>
                    <a:pt x="8" y="31"/>
                  </a:cubicBezTo>
                  <a:cubicBezTo>
                    <a:pt x="14" y="27"/>
                    <a:pt x="19" y="23"/>
                    <a:pt x="26" y="20"/>
                  </a:cubicBezTo>
                  <a:cubicBezTo>
                    <a:pt x="33" y="16"/>
                    <a:pt x="42" y="15"/>
                    <a:pt x="51" y="14"/>
                  </a:cubicBezTo>
                  <a:cubicBezTo>
                    <a:pt x="57" y="13"/>
                    <a:pt x="63" y="13"/>
                    <a:pt x="69" y="13"/>
                  </a:cubicBezTo>
                  <a:cubicBezTo>
                    <a:pt x="81" y="12"/>
                    <a:pt x="93" y="13"/>
                    <a:pt x="104" y="14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73" y="3"/>
                    <a:pt x="65" y="1"/>
                    <a:pt x="58" y="1"/>
                  </a:cubicBezTo>
                  <a:cubicBezTo>
                    <a:pt x="50" y="0"/>
                    <a:pt x="43" y="1"/>
                    <a:pt x="35" y="3"/>
                  </a:cubicBezTo>
                  <a:close/>
                </a:path>
              </a:pathLst>
            </a:custGeom>
            <a:solidFill>
              <a:srgbClr val="FDFD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63" name="Freeform 20"/>
            <p:cNvSpPr>
              <a:spLocks/>
            </p:cNvSpPr>
            <p:nvPr/>
          </p:nvSpPr>
          <p:spPr bwMode="auto">
            <a:xfrm>
              <a:off x="2712544" y="3346523"/>
              <a:ext cx="1213125" cy="2644991"/>
            </a:xfrm>
            <a:custGeom>
              <a:avLst/>
              <a:gdLst>
                <a:gd name="T0" fmla="*/ 142 w 207"/>
                <a:gd name="T1" fmla="*/ 0 h 458"/>
                <a:gd name="T2" fmla="*/ 109 w 207"/>
                <a:gd name="T3" fmla="*/ 42 h 458"/>
                <a:gd name="T4" fmla="*/ 99 w 207"/>
                <a:gd name="T5" fmla="*/ 49 h 458"/>
                <a:gd name="T6" fmla="*/ 91 w 207"/>
                <a:gd name="T7" fmla="*/ 58 h 458"/>
                <a:gd name="T8" fmla="*/ 90 w 207"/>
                <a:gd name="T9" fmla="*/ 60 h 458"/>
                <a:gd name="T10" fmla="*/ 72 w 207"/>
                <a:gd name="T11" fmla="*/ 115 h 458"/>
                <a:gd name="T12" fmla="*/ 49 w 207"/>
                <a:gd name="T13" fmla="*/ 176 h 458"/>
                <a:gd name="T14" fmla="*/ 21 w 207"/>
                <a:gd name="T15" fmla="*/ 231 h 458"/>
                <a:gd name="T16" fmla="*/ 4 w 207"/>
                <a:gd name="T17" fmla="*/ 271 h 458"/>
                <a:gd name="T18" fmla="*/ 19 w 207"/>
                <a:gd name="T19" fmla="*/ 339 h 458"/>
                <a:gd name="T20" fmla="*/ 116 w 207"/>
                <a:gd name="T21" fmla="*/ 430 h 458"/>
                <a:gd name="T22" fmla="*/ 157 w 207"/>
                <a:gd name="T23" fmla="*/ 450 h 458"/>
                <a:gd name="T24" fmla="*/ 182 w 207"/>
                <a:gd name="T25" fmla="*/ 458 h 458"/>
                <a:gd name="T26" fmla="*/ 195 w 207"/>
                <a:gd name="T27" fmla="*/ 456 h 458"/>
                <a:gd name="T28" fmla="*/ 204 w 207"/>
                <a:gd name="T29" fmla="*/ 447 h 458"/>
                <a:gd name="T30" fmla="*/ 207 w 207"/>
                <a:gd name="T31" fmla="*/ 434 h 458"/>
                <a:gd name="T32" fmla="*/ 202 w 207"/>
                <a:gd name="T33" fmla="*/ 422 h 458"/>
                <a:gd name="T34" fmla="*/ 190 w 207"/>
                <a:gd name="T35" fmla="*/ 409 h 458"/>
                <a:gd name="T36" fmla="*/ 175 w 207"/>
                <a:gd name="T37" fmla="*/ 398 h 458"/>
                <a:gd name="T38" fmla="*/ 109 w 207"/>
                <a:gd name="T39" fmla="*/ 321 h 458"/>
                <a:gd name="T40" fmla="*/ 90 w 207"/>
                <a:gd name="T41" fmla="*/ 295 h 458"/>
                <a:gd name="T42" fmla="*/ 77 w 207"/>
                <a:gd name="T43" fmla="*/ 263 h 458"/>
                <a:gd name="T44" fmla="*/ 82 w 207"/>
                <a:gd name="T45" fmla="*/ 177 h 458"/>
                <a:gd name="T46" fmla="*/ 97 w 207"/>
                <a:gd name="T47" fmla="*/ 142 h 458"/>
                <a:gd name="T48" fmla="*/ 123 w 207"/>
                <a:gd name="T49" fmla="*/ 71 h 458"/>
                <a:gd name="T50" fmla="*/ 130 w 207"/>
                <a:gd name="T51" fmla="*/ 50 h 458"/>
                <a:gd name="T52" fmla="*/ 142 w 207"/>
                <a:gd name="T53" fmla="*/ 0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7" h="458">
                  <a:moveTo>
                    <a:pt x="142" y="0"/>
                  </a:moveTo>
                  <a:cubicBezTo>
                    <a:pt x="135" y="16"/>
                    <a:pt x="123" y="31"/>
                    <a:pt x="109" y="42"/>
                  </a:cubicBezTo>
                  <a:cubicBezTo>
                    <a:pt x="105" y="44"/>
                    <a:pt x="102" y="46"/>
                    <a:pt x="99" y="49"/>
                  </a:cubicBezTo>
                  <a:cubicBezTo>
                    <a:pt x="95" y="51"/>
                    <a:pt x="93" y="54"/>
                    <a:pt x="91" y="58"/>
                  </a:cubicBezTo>
                  <a:cubicBezTo>
                    <a:pt x="90" y="58"/>
                    <a:pt x="90" y="59"/>
                    <a:pt x="90" y="60"/>
                  </a:cubicBezTo>
                  <a:cubicBezTo>
                    <a:pt x="81" y="77"/>
                    <a:pt x="78" y="96"/>
                    <a:pt x="72" y="115"/>
                  </a:cubicBezTo>
                  <a:cubicBezTo>
                    <a:pt x="66" y="136"/>
                    <a:pt x="58" y="157"/>
                    <a:pt x="49" y="176"/>
                  </a:cubicBezTo>
                  <a:cubicBezTo>
                    <a:pt x="40" y="195"/>
                    <a:pt x="30" y="213"/>
                    <a:pt x="21" y="231"/>
                  </a:cubicBezTo>
                  <a:cubicBezTo>
                    <a:pt x="14" y="244"/>
                    <a:pt x="7" y="257"/>
                    <a:pt x="4" y="271"/>
                  </a:cubicBezTo>
                  <a:cubicBezTo>
                    <a:pt x="0" y="295"/>
                    <a:pt x="8" y="318"/>
                    <a:pt x="19" y="339"/>
                  </a:cubicBezTo>
                  <a:cubicBezTo>
                    <a:pt x="42" y="378"/>
                    <a:pt x="77" y="408"/>
                    <a:pt x="116" y="430"/>
                  </a:cubicBezTo>
                  <a:cubicBezTo>
                    <a:pt x="130" y="437"/>
                    <a:pt x="143" y="444"/>
                    <a:pt x="157" y="450"/>
                  </a:cubicBezTo>
                  <a:cubicBezTo>
                    <a:pt x="165" y="454"/>
                    <a:pt x="173" y="457"/>
                    <a:pt x="182" y="458"/>
                  </a:cubicBezTo>
                  <a:cubicBezTo>
                    <a:pt x="186" y="458"/>
                    <a:pt x="191" y="457"/>
                    <a:pt x="195" y="456"/>
                  </a:cubicBezTo>
                  <a:cubicBezTo>
                    <a:pt x="199" y="454"/>
                    <a:pt x="202" y="451"/>
                    <a:pt x="204" y="447"/>
                  </a:cubicBezTo>
                  <a:cubicBezTo>
                    <a:pt x="207" y="443"/>
                    <a:pt x="207" y="439"/>
                    <a:pt x="207" y="434"/>
                  </a:cubicBezTo>
                  <a:cubicBezTo>
                    <a:pt x="206" y="430"/>
                    <a:pt x="205" y="425"/>
                    <a:pt x="202" y="422"/>
                  </a:cubicBezTo>
                  <a:cubicBezTo>
                    <a:pt x="199" y="416"/>
                    <a:pt x="194" y="412"/>
                    <a:pt x="190" y="409"/>
                  </a:cubicBezTo>
                  <a:cubicBezTo>
                    <a:pt x="185" y="405"/>
                    <a:pt x="180" y="402"/>
                    <a:pt x="175" y="398"/>
                  </a:cubicBezTo>
                  <a:cubicBezTo>
                    <a:pt x="147" y="378"/>
                    <a:pt x="129" y="349"/>
                    <a:pt x="109" y="321"/>
                  </a:cubicBezTo>
                  <a:cubicBezTo>
                    <a:pt x="102" y="313"/>
                    <a:pt x="96" y="304"/>
                    <a:pt x="90" y="295"/>
                  </a:cubicBezTo>
                  <a:cubicBezTo>
                    <a:pt x="84" y="285"/>
                    <a:pt x="80" y="274"/>
                    <a:pt x="77" y="263"/>
                  </a:cubicBezTo>
                  <a:cubicBezTo>
                    <a:pt x="69" y="235"/>
                    <a:pt x="72" y="204"/>
                    <a:pt x="82" y="177"/>
                  </a:cubicBezTo>
                  <a:cubicBezTo>
                    <a:pt x="86" y="165"/>
                    <a:pt x="92" y="154"/>
                    <a:pt x="97" y="142"/>
                  </a:cubicBezTo>
                  <a:cubicBezTo>
                    <a:pt x="107" y="119"/>
                    <a:pt x="115" y="95"/>
                    <a:pt x="123" y="71"/>
                  </a:cubicBezTo>
                  <a:cubicBezTo>
                    <a:pt x="125" y="64"/>
                    <a:pt x="128" y="57"/>
                    <a:pt x="130" y="50"/>
                  </a:cubicBezTo>
                  <a:cubicBezTo>
                    <a:pt x="135" y="33"/>
                    <a:pt x="139" y="17"/>
                    <a:pt x="142" y="0"/>
                  </a:cubicBezTo>
                  <a:close/>
                </a:path>
              </a:pathLst>
            </a:custGeom>
            <a:solidFill>
              <a:srgbClr val="FDFD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64" name="Freeform 21"/>
            <p:cNvSpPr>
              <a:spLocks/>
            </p:cNvSpPr>
            <p:nvPr/>
          </p:nvSpPr>
          <p:spPr bwMode="auto">
            <a:xfrm>
              <a:off x="2692657" y="2869232"/>
              <a:ext cx="1411998" cy="3321154"/>
            </a:xfrm>
            <a:custGeom>
              <a:avLst/>
              <a:gdLst>
                <a:gd name="T0" fmla="*/ 193 w 245"/>
                <a:gd name="T1" fmla="*/ 0 h 575"/>
                <a:gd name="T2" fmla="*/ 160 w 245"/>
                <a:gd name="T3" fmla="*/ 42 h 575"/>
                <a:gd name="T4" fmla="*/ 125 w 245"/>
                <a:gd name="T5" fmla="*/ 85 h 575"/>
                <a:gd name="T6" fmla="*/ 88 w 245"/>
                <a:gd name="T7" fmla="*/ 141 h 575"/>
                <a:gd name="T8" fmla="*/ 70 w 245"/>
                <a:gd name="T9" fmla="*/ 196 h 575"/>
                <a:gd name="T10" fmla="*/ 47 w 245"/>
                <a:gd name="T11" fmla="*/ 257 h 575"/>
                <a:gd name="T12" fmla="*/ 19 w 245"/>
                <a:gd name="T13" fmla="*/ 312 h 575"/>
                <a:gd name="T14" fmla="*/ 2 w 245"/>
                <a:gd name="T15" fmla="*/ 352 h 575"/>
                <a:gd name="T16" fmla="*/ 5 w 245"/>
                <a:gd name="T17" fmla="*/ 387 h 575"/>
                <a:gd name="T18" fmla="*/ 17 w 245"/>
                <a:gd name="T19" fmla="*/ 420 h 575"/>
                <a:gd name="T20" fmla="*/ 114 w 245"/>
                <a:gd name="T21" fmla="*/ 531 h 575"/>
                <a:gd name="T22" fmla="*/ 173 w 245"/>
                <a:gd name="T23" fmla="*/ 565 h 575"/>
                <a:gd name="T24" fmla="*/ 208 w 245"/>
                <a:gd name="T25" fmla="*/ 575 h 575"/>
                <a:gd name="T26" fmla="*/ 226 w 245"/>
                <a:gd name="T27" fmla="*/ 572 h 575"/>
                <a:gd name="T28" fmla="*/ 240 w 245"/>
                <a:gd name="T29" fmla="*/ 560 h 575"/>
                <a:gd name="T30" fmla="*/ 244 w 245"/>
                <a:gd name="T31" fmla="*/ 539 h 575"/>
                <a:gd name="T32" fmla="*/ 237 w 245"/>
                <a:gd name="T33" fmla="*/ 518 h 575"/>
                <a:gd name="T34" fmla="*/ 198 w 245"/>
                <a:gd name="T35" fmla="*/ 479 h 575"/>
                <a:gd name="T36" fmla="*/ 107 w 245"/>
                <a:gd name="T37" fmla="*/ 402 h 575"/>
                <a:gd name="T38" fmla="*/ 85 w 245"/>
                <a:gd name="T39" fmla="*/ 377 h 575"/>
                <a:gd name="T40" fmla="*/ 74 w 245"/>
                <a:gd name="T41" fmla="*/ 346 h 575"/>
                <a:gd name="T42" fmla="*/ 80 w 245"/>
                <a:gd name="T43" fmla="*/ 258 h 575"/>
                <a:gd name="T44" fmla="*/ 94 w 245"/>
                <a:gd name="T45" fmla="*/ 226 h 575"/>
                <a:gd name="T46" fmla="*/ 122 w 245"/>
                <a:gd name="T47" fmla="*/ 172 h 575"/>
                <a:gd name="T48" fmla="*/ 167 w 245"/>
                <a:gd name="T49" fmla="*/ 111 h 575"/>
                <a:gd name="T50" fmla="*/ 184 w 245"/>
                <a:gd name="T51" fmla="*/ 50 h 575"/>
                <a:gd name="T52" fmla="*/ 193 w 245"/>
                <a:gd name="T53" fmla="*/ 0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5" h="575">
                  <a:moveTo>
                    <a:pt x="193" y="0"/>
                  </a:moveTo>
                  <a:cubicBezTo>
                    <a:pt x="182" y="14"/>
                    <a:pt x="171" y="28"/>
                    <a:pt x="160" y="42"/>
                  </a:cubicBezTo>
                  <a:cubicBezTo>
                    <a:pt x="148" y="56"/>
                    <a:pt x="137" y="71"/>
                    <a:pt x="125" y="85"/>
                  </a:cubicBezTo>
                  <a:cubicBezTo>
                    <a:pt x="111" y="103"/>
                    <a:pt x="97" y="120"/>
                    <a:pt x="88" y="141"/>
                  </a:cubicBezTo>
                  <a:cubicBezTo>
                    <a:pt x="80" y="158"/>
                    <a:pt x="76" y="178"/>
                    <a:pt x="70" y="196"/>
                  </a:cubicBezTo>
                  <a:cubicBezTo>
                    <a:pt x="64" y="217"/>
                    <a:pt x="56" y="238"/>
                    <a:pt x="47" y="257"/>
                  </a:cubicBezTo>
                  <a:cubicBezTo>
                    <a:pt x="38" y="276"/>
                    <a:pt x="28" y="294"/>
                    <a:pt x="19" y="312"/>
                  </a:cubicBezTo>
                  <a:cubicBezTo>
                    <a:pt x="12" y="325"/>
                    <a:pt x="5" y="338"/>
                    <a:pt x="2" y="352"/>
                  </a:cubicBezTo>
                  <a:cubicBezTo>
                    <a:pt x="0" y="364"/>
                    <a:pt x="2" y="376"/>
                    <a:pt x="5" y="387"/>
                  </a:cubicBezTo>
                  <a:cubicBezTo>
                    <a:pt x="7" y="398"/>
                    <a:pt x="12" y="409"/>
                    <a:pt x="17" y="420"/>
                  </a:cubicBezTo>
                  <a:cubicBezTo>
                    <a:pt x="40" y="464"/>
                    <a:pt x="74" y="502"/>
                    <a:pt x="114" y="531"/>
                  </a:cubicBezTo>
                  <a:cubicBezTo>
                    <a:pt x="133" y="545"/>
                    <a:pt x="152" y="556"/>
                    <a:pt x="173" y="565"/>
                  </a:cubicBezTo>
                  <a:cubicBezTo>
                    <a:pt x="184" y="570"/>
                    <a:pt x="196" y="575"/>
                    <a:pt x="208" y="575"/>
                  </a:cubicBezTo>
                  <a:cubicBezTo>
                    <a:pt x="214" y="575"/>
                    <a:pt x="220" y="574"/>
                    <a:pt x="226" y="572"/>
                  </a:cubicBezTo>
                  <a:cubicBezTo>
                    <a:pt x="231" y="569"/>
                    <a:pt x="236" y="565"/>
                    <a:pt x="240" y="560"/>
                  </a:cubicBezTo>
                  <a:cubicBezTo>
                    <a:pt x="244" y="554"/>
                    <a:pt x="245" y="546"/>
                    <a:pt x="244" y="539"/>
                  </a:cubicBezTo>
                  <a:cubicBezTo>
                    <a:pt x="244" y="531"/>
                    <a:pt x="241" y="524"/>
                    <a:pt x="237" y="518"/>
                  </a:cubicBezTo>
                  <a:cubicBezTo>
                    <a:pt x="227" y="502"/>
                    <a:pt x="212" y="491"/>
                    <a:pt x="198" y="479"/>
                  </a:cubicBezTo>
                  <a:cubicBezTo>
                    <a:pt x="166" y="455"/>
                    <a:pt x="136" y="429"/>
                    <a:pt x="107" y="402"/>
                  </a:cubicBezTo>
                  <a:cubicBezTo>
                    <a:pt x="99" y="395"/>
                    <a:pt x="90" y="387"/>
                    <a:pt x="85" y="377"/>
                  </a:cubicBezTo>
                  <a:cubicBezTo>
                    <a:pt x="79" y="368"/>
                    <a:pt x="76" y="357"/>
                    <a:pt x="74" y="346"/>
                  </a:cubicBezTo>
                  <a:cubicBezTo>
                    <a:pt x="68" y="317"/>
                    <a:pt x="70" y="286"/>
                    <a:pt x="80" y="258"/>
                  </a:cubicBezTo>
                  <a:cubicBezTo>
                    <a:pt x="84" y="247"/>
                    <a:pt x="89" y="236"/>
                    <a:pt x="94" y="226"/>
                  </a:cubicBezTo>
                  <a:cubicBezTo>
                    <a:pt x="103" y="207"/>
                    <a:pt x="111" y="189"/>
                    <a:pt x="122" y="172"/>
                  </a:cubicBezTo>
                  <a:cubicBezTo>
                    <a:pt x="136" y="151"/>
                    <a:pt x="155" y="133"/>
                    <a:pt x="167" y="111"/>
                  </a:cubicBezTo>
                  <a:cubicBezTo>
                    <a:pt x="177" y="92"/>
                    <a:pt x="180" y="71"/>
                    <a:pt x="184" y="50"/>
                  </a:cubicBezTo>
                  <a:cubicBezTo>
                    <a:pt x="187" y="33"/>
                    <a:pt x="190" y="17"/>
                    <a:pt x="193" y="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65" name="Freeform 22"/>
            <p:cNvSpPr>
              <a:spLocks/>
            </p:cNvSpPr>
            <p:nvPr/>
          </p:nvSpPr>
          <p:spPr bwMode="auto">
            <a:xfrm>
              <a:off x="1917052" y="5076705"/>
              <a:ext cx="2227378" cy="2187587"/>
            </a:xfrm>
            <a:custGeom>
              <a:avLst/>
              <a:gdLst>
                <a:gd name="T0" fmla="*/ 162 w 384"/>
                <a:gd name="T1" fmla="*/ 4 h 379"/>
                <a:gd name="T2" fmla="*/ 183 w 384"/>
                <a:gd name="T3" fmla="*/ 2 h 379"/>
                <a:gd name="T4" fmla="*/ 202 w 384"/>
                <a:gd name="T5" fmla="*/ 10 h 379"/>
                <a:gd name="T6" fmla="*/ 230 w 384"/>
                <a:gd name="T7" fmla="*/ 40 h 379"/>
                <a:gd name="T8" fmla="*/ 283 w 384"/>
                <a:gd name="T9" fmla="*/ 119 h 379"/>
                <a:gd name="T10" fmla="*/ 323 w 384"/>
                <a:gd name="T11" fmla="*/ 185 h 379"/>
                <a:gd name="T12" fmla="*/ 355 w 384"/>
                <a:gd name="T13" fmla="*/ 225 h 379"/>
                <a:gd name="T14" fmla="*/ 378 w 384"/>
                <a:gd name="T15" fmla="*/ 269 h 379"/>
                <a:gd name="T16" fmla="*/ 372 w 384"/>
                <a:gd name="T17" fmla="*/ 333 h 379"/>
                <a:gd name="T18" fmla="*/ 340 w 384"/>
                <a:gd name="T19" fmla="*/ 367 h 379"/>
                <a:gd name="T20" fmla="*/ 296 w 384"/>
                <a:gd name="T21" fmla="*/ 378 h 379"/>
                <a:gd name="T22" fmla="*/ 227 w 384"/>
                <a:gd name="T23" fmla="*/ 356 h 379"/>
                <a:gd name="T24" fmla="*/ 82 w 384"/>
                <a:gd name="T25" fmla="*/ 317 h 379"/>
                <a:gd name="T26" fmla="*/ 39 w 384"/>
                <a:gd name="T27" fmla="*/ 304 h 379"/>
                <a:gd name="T28" fmla="*/ 19 w 384"/>
                <a:gd name="T29" fmla="*/ 297 h 379"/>
                <a:gd name="T30" fmla="*/ 4 w 384"/>
                <a:gd name="T31" fmla="*/ 285 h 379"/>
                <a:gd name="T32" fmla="*/ 0 w 384"/>
                <a:gd name="T33" fmla="*/ 269 h 379"/>
                <a:gd name="T34" fmla="*/ 3 w 384"/>
                <a:gd name="T35" fmla="*/ 254 h 379"/>
                <a:gd name="T36" fmla="*/ 16 w 384"/>
                <a:gd name="T37" fmla="*/ 225 h 379"/>
                <a:gd name="T38" fmla="*/ 23 w 384"/>
                <a:gd name="T39" fmla="*/ 175 h 379"/>
                <a:gd name="T40" fmla="*/ 18 w 384"/>
                <a:gd name="T41" fmla="*/ 123 h 379"/>
                <a:gd name="T42" fmla="*/ 19 w 384"/>
                <a:gd name="T43" fmla="*/ 100 h 379"/>
                <a:gd name="T44" fmla="*/ 29 w 384"/>
                <a:gd name="T45" fmla="*/ 80 h 379"/>
                <a:gd name="T46" fmla="*/ 48 w 384"/>
                <a:gd name="T47" fmla="*/ 71 h 379"/>
                <a:gd name="T48" fmla="*/ 69 w 384"/>
                <a:gd name="T49" fmla="*/ 70 h 379"/>
                <a:gd name="T50" fmla="*/ 90 w 384"/>
                <a:gd name="T51" fmla="*/ 69 h 379"/>
                <a:gd name="T52" fmla="*/ 111 w 384"/>
                <a:gd name="T53" fmla="*/ 64 h 379"/>
                <a:gd name="T54" fmla="*/ 125 w 384"/>
                <a:gd name="T55" fmla="*/ 50 h 379"/>
                <a:gd name="T56" fmla="*/ 136 w 384"/>
                <a:gd name="T57" fmla="*/ 33 h 379"/>
                <a:gd name="T58" fmla="*/ 147 w 384"/>
                <a:gd name="T59" fmla="*/ 16 h 379"/>
                <a:gd name="T60" fmla="*/ 162 w 384"/>
                <a:gd name="T61" fmla="*/ 4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84" h="379">
                  <a:moveTo>
                    <a:pt x="162" y="4"/>
                  </a:moveTo>
                  <a:cubicBezTo>
                    <a:pt x="169" y="1"/>
                    <a:pt x="176" y="0"/>
                    <a:pt x="183" y="2"/>
                  </a:cubicBezTo>
                  <a:cubicBezTo>
                    <a:pt x="190" y="3"/>
                    <a:pt x="196" y="6"/>
                    <a:pt x="202" y="10"/>
                  </a:cubicBezTo>
                  <a:cubicBezTo>
                    <a:pt x="213" y="18"/>
                    <a:pt x="222" y="29"/>
                    <a:pt x="230" y="40"/>
                  </a:cubicBezTo>
                  <a:cubicBezTo>
                    <a:pt x="248" y="66"/>
                    <a:pt x="266" y="92"/>
                    <a:pt x="283" y="119"/>
                  </a:cubicBezTo>
                  <a:cubicBezTo>
                    <a:pt x="296" y="142"/>
                    <a:pt x="308" y="165"/>
                    <a:pt x="323" y="185"/>
                  </a:cubicBezTo>
                  <a:cubicBezTo>
                    <a:pt x="333" y="199"/>
                    <a:pt x="345" y="211"/>
                    <a:pt x="355" y="225"/>
                  </a:cubicBezTo>
                  <a:cubicBezTo>
                    <a:pt x="365" y="239"/>
                    <a:pt x="374" y="253"/>
                    <a:pt x="378" y="269"/>
                  </a:cubicBezTo>
                  <a:cubicBezTo>
                    <a:pt x="384" y="291"/>
                    <a:pt x="382" y="314"/>
                    <a:pt x="372" y="333"/>
                  </a:cubicBezTo>
                  <a:cubicBezTo>
                    <a:pt x="364" y="347"/>
                    <a:pt x="354" y="359"/>
                    <a:pt x="340" y="367"/>
                  </a:cubicBezTo>
                  <a:cubicBezTo>
                    <a:pt x="327" y="375"/>
                    <a:pt x="312" y="379"/>
                    <a:pt x="296" y="378"/>
                  </a:cubicBezTo>
                  <a:cubicBezTo>
                    <a:pt x="272" y="377"/>
                    <a:pt x="250" y="365"/>
                    <a:pt x="227" y="356"/>
                  </a:cubicBezTo>
                  <a:cubicBezTo>
                    <a:pt x="180" y="337"/>
                    <a:pt x="130" y="332"/>
                    <a:pt x="82" y="317"/>
                  </a:cubicBezTo>
                  <a:cubicBezTo>
                    <a:pt x="68" y="313"/>
                    <a:pt x="53" y="308"/>
                    <a:pt x="39" y="304"/>
                  </a:cubicBezTo>
                  <a:cubicBezTo>
                    <a:pt x="32" y="302"/>
                    <a:pt x="25" y="300"/>
                    <a:pt x="19" y="297"/>
                  </a:cubicBezTo>
                  <a:cubicBezTo>
                    <a:pt x="13" y="295"/>
                    <a:pt x="7" y="290"/>
                    <a:pt x="4" y="285"/>
                  </a:cubicBezTo>
                  <a:cubicBezTo>
                    <a:pt x="1" y="280"/>
                    <a:pt x="0" y="275"/>
                    <a:pt x="0" y="269"/>
                  </a:cubicBezTo>
                  <a:cubicBezTo>
                    <a:pt x="0" y="264"/>
                    <a:pt x="1" y="259"/>
                    <a:pt x="3" y="254"/>
                  </a:cubicBezTo>
                  <a:cubicBezTo>
                    <a:pt x="7" y="244"/>
                    <a:pt x="12" y="235"/>
                    <a:pt x="16" y="225"/>
                  </a:cubicBezTo>
                  <a:cubicBezTo>
                    <a:pt x="23" y="209"/>
                    <a:pt x="24" y="192"/>
                    <a:pt x="23" y="175"/>
                  </a:cubicBezTo>
                  <a:cubicBezTo>
                    <a:pt x="22" y="157"/>
                    <a:pt x="19" y="140"/>
                    <a:pt x="18" y="123"/>
                  </a:cubicBezTo>
                  <a:cubicBezTo>
                    <a:pt x="18" y="116"/>
                    <a:pt x="17" y="108"/>
                    <a:pt x="19" y="100"/>
                  </a:cubicBezTo>
                  <a:cubicBezTo>
                    <a:pt x="20" y="93"/>
                    <a:pt x="24" y="85"/>
                    <a:pt x="29" y="80"/>
                  </a:cubicBezTo>
                  <a:cubicBezTo>
                    <a:pt x="34" y="75"/>
                    <a:pt x="41" y="72"/>
                    <a:pt x="48" y="71"/>
                  </a:cubicBezTo>
                  <a:cubicBezTo>
                    <a:pt x="55" y="69"/>
                    <a:pt x="62" y="69"/>
                    <a:pt x="69" y="70"/>
                  </a:cubicBezTo>
                  <a:cubicBezTo>
                    <a:pt x="76" y="70"/>
                    <a:pt x="83" y="70"/>
                    <a:pt x="90" y="69"/>
                  </a:cubicBezTo>
                  <a:cubicBezTo>
                    <a:pt x="97" y="69"/>
                    <a:pt x="104" y="67"/>
                    <a:pt x="111" y="64"/>
                  </a:cubicBezTo>
                  <a:cubicBezTo>
                    <a:pt x="116" y="60"/>
                    <a:pt x="121" y="55"/>
                    <a:pt x="125" y="50"/>
                  </a:cubicBezTo>
                  <a:cubicBezTo>
                    <a:pt x="129" y="45"/>
                    <a:pt x="132" y="39"/>
                    <a:pt x="136" y="33"/>
                  </a:cubicBezTo>
                  <a:cubicBezTo>
                    <a:pt x="139" y="27"/>
                    <a:pt x="142" y="21"/>
                    <a:pt x="147" y="16"/>
                  </a:cubicBezTo>
                  <a:cubicBezTo>
                    <a:pt x="151" y="11"/>
                    <a:pt x="156" y="6"/>
                    <a:pt x="16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66" name="Freeform 23"/>
            <p:cNvSpPr>
              <a:spLocks/>
            </p:cNvSpPr>
            <p:nvPr/>
          </p:nvSpPr>
          <p:spPr bwMode="auto">
            <a:xfrm>
              <a:off x="4880259" y="1616341"/>
              <a:ext cx="377858" cy="457404"/>
            </a:xfrm>
            <a:custGeom>
              <a:avLst/>
              <a:gdLst>
                <a:gd name="T0" fmla="*/ 29 w 65"/>
                <a:gd name="T1" fmla="*/ 1 h 78"/>
                <a:gd name="T2" fmla="*/ 17 w 65"/>
                <a:gd name="T3" fmla="*/ 5 h 78"/>
                <a:gd name="T4" fmla="*/ 8 w 65"/>
                <a:gd name="T5" fmla="*/ 13 h 78"/>
                <a:gd name="T6" fmla="*/ 1 w 65"/>
                <a:gd name="T7" fmla="*/ 37 h 78"/>
                <a:gd name="T8" fmla="*/ 3 w 65"/>
                <a:gd name="T9" fmla="*/ 56 h 78"/>
                <a:gd name="T10" fmla="*/ 14 w 65"/>
                <a:gd name="T11" fmla="*/ 71 h 78"/>
                <a:gd name="T12" fmla="*/ 31 w 65"/>
                <a:gd name="T13" fmla="*/ 78 h 78"/>
                <a:gd name="T14" fmla="*/ 50 w 65"/>
                <a:gd name="T15" fmla="*/ 73 h 78"/>
                <a:gd name="T16" fmla="*/ 60 w 65"/>
                <a:gd name="T17" fmla="*/ 61 h 78"/>
                <a:gd name="T18" fmla="*/ 64 w 65"/>
                <a:gd name="T19" fmla="*/ 47 h 78"/>
                <a:gd name="T20" fmla="*/ 60 w 65"/>
                <a:gd name="T21" fmla="*/ 20 h 78"/>
                <a:gd name="T22" fmla="*/ 40 w 65"/>
                <a:gd name="T23" fmla="*/ 2 h 78"/>
                <a:gd name="T24" fmla="*/ 29 w 65"/>
                <a:gd name="T25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8">
                  <a:moveTo>
                    <a:pt x="29" y="1"/>
                  </a:moveTo>
                  <a:cubicBezTo>
                    <a:pt x="24" y="1"/>
                    <a:pt x="20" y="2"/>
                    <a:pt x="17" y="5"/>
                  </a:cubicBezTo>
                  <a:cubicBezTo>
                    <a:pt x="13" y="7"/>
                    <a:pt x="10" y="10"/>
                    <a:pt x="8" y="13"/>
                  </a:cubicBezTo>
                  <a:cubicBezTo>
                    <a:pt x="3" y="20"/>
                    <a:pt x="1" y="29"/>
                    <a:pt x="1" y="37"/>
                  </a:cubicBezTo>
                  <a:cubicBezTo>
                    <a:pt x="0" y="43"/>
                    <a:pt x="1" y="50"/>
                    <a:pt x="3" y="56"/>
                  </a:cubicBezTo>
                  <a:cubicBezTo>
                    <a:pt x="5" y="62"/>
                    <a:pt x="9" y="67"/>
                    <a:pt x="14" y="71"/>
                  </a:cubicBezTo>
                  <a:cubicBezTo>
                    <a:pt x="19" y="75"/>
                    <a:pt x="25" y="78"/>
                    <a:pt x="31" y="78"/>
                  </a:cubicBezTo>
                  <a:cubicBezTo>
                    <a:pt x="38" y="78"/>
                    <a:pt x="44" y="76"/>
                    <a:pt x="50" y="73"/>
                  </a:cubicBezTo>
                  <a:cubicBezTo>
                    <a:pt x="54" y="70"/>
                    <a:pt x="57" y="66"/>
                    <a:pt x="60" y="61"/>
                  </a:cubicBezTo>
                  <a:cubicBezTo>
                    <a:pt x="62" y="57"/>
                    <a:pt x="64" y="52"/>
                    <a:pt x="64" y="47"/>
                  </a:cubicBezTo>
                  <a:cubicBezTo>
                    <a:pt x="65" y="38"/>
                    <a:pt x="64" y="28"/>
                    <a:pt x="60" y="20"/>
                  </a:cubicBezTo>
                  <a:cubicBezTo>
                    <a:pt x="56" y="12"/>
                    <a:pt x="49" y="5"/>
                    <a:pt x="40" y="2"/>
                  </a:cubicBezTo>
                  <a:cubicBezTo>
                    <a:pt x="37" y="1"/>
                    <a:pt x="33" y="0"/>
                    <a:pt x="29" y="1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67" name="Freeform 24"/>
            <p:cNvSpPr>
              <a:spLocks/>
            </p:cNvSpPr>
            <p:nvPr/>
          </p:nvSpPr>
          <p:spPr bwMode="auto">
            <a:xfrm>
              <a:off x="5059246" y="1676003"/>
              <a:ext cx="139211" cy="178984"/>
            </a:xfrm>
            <a:custGeom>
              <a:avLst/>
              <a:gdLst>
                <a:gd name="T0" fmla="*/ 2 w 27"/>
                <a:gd name="T1" fmla="*/ 8 h 29"/>
                <a:gd name="T2" fmla="*/ 9 w 27"/>
                <a:gd name="T3" fmla="*/ 11 h 29"/>
                <a:gd name="T4" fmla="*/ 14 w 27"/>
                <a:gd name="T5" fmla="*/ 15 h 29"/>
                <a:gd name="T6" fmla="*/ 20 w 27"/>
                <a:gd name="T7" fmla="*/ 28 h 29"/>
                <a:gd name="T8" fmla="*/ 24 w 27"/>
                <a:gd name="T9" fmla="*/ 27 h 29"/>
                <a:gd name="T10" fmla="*/ 20 w 27"/>
                <a:gd name="T11" fmla="*/ 9 h 29"/>
                <a:gd name="T12" fmla="*/ 8 w 27"/>
                <a:gd name="T13" fmla="*/ 1 h 29"/>
                <a:gd name="T14" fmla="*/ 1 w 27"/>
                <a:gd name="T15" fmla="*/ 3 h 29"/>
                <a:gd name="T16" fmla="*/ 2 w 27"/>
                <a:gd name="T17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9">
                  <a:moveTo>
                    <a:pt x="2" y="8"/>
                  </a:moveTo>
                  <a:cubicBezTo>
                    <a:pt x="4" y="10"/>
                    <a:pt x="7" y="9"/>
                    <a:pt x="9" y="11"/>
                  </a:cubicBezTo>
                  <a:cubicBezTo>
                    <a:pt x="11" y="12"/>
                    <a:pt x="13" y="13"/>
                    <a:pt x="14" y="15"/>
                  </a:cubicBezTo>
                  <a:cubicBezTo>
                    <a:pt x="17" y="19"/>
                    <a:pt x="16" y="26"/>
                    <a:pt x="20" y="28"/>
                  </a:cubicBezTo>
                  <a:cubicBezTo>
                    <a:pt x="22" y="29"/>
                    <a:pt x="24" y="28"/>
                    <a:pt x="24" y="27"/>
                  </a:cubicBezTo>
                  <a:cubicBezTo>
                    <a:pt x="27" y="21"/>
                    <a:pt x="23" y="14"/>
                    <a:pt x="20" y="9"/>
                  </a:cubicBezTo>
                  <a:cubicBezTo>
                    <a:pt x="17" y="5"/>
                    <a:pt x="12" y="1"/>
                    <a:pt x="8" y="1"/>
                  </a:cubicBezTo>
                  <a:cubicBezTo>
                    <a:pt x="5" y="0"/>
                    <a:pt x="2" y="1"/>
                    <a:pt x="1" y="3"/>
                  </a:cubicBezTo>
                  <a:cubicBezTo>
                    <a:pt x="0" y="4"/>
                    <a:pt x="1" y="6"/>
                    <a:pt x="2" y="8"/>
                  </a:cubicBezTo>
                  <a:close/>
                </a:path>
              </a:pathLst>
            </a:custGeom>
            <a:solidFill>
              <a:srgbClr val="FEFE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68" name="Freeform 25"/>
            <p:cNvSpPr>
              <a:spLocks/>
            </p:cNvSpPr>
            <p:nvPr/>
          </p:nvSpPr>
          <p:spPr bwMode="auto">
            <a:xfrm>
              <a:off x="4064881" y="1636228"/>
              <a:ext cx="278422" cy="437517"/>
            </a:xfrm>
            <a:custGeom>
              <a:avLst/>
              <a:gdLst>
                <a:gd name="T0" fmla="*/ 2 w 50"/>
                <a:gd name="T1" fmla="*/ 22 h 74"/>
                <a:gd name="T2" fmla="*/ 3 w 50"/>
                <a:gd name="T3" fmla="*/ 49 h 74"/>
                <a:gd name="T4" fmla="*/ 13 w 50"/>
                <a:gd name="T5" fmla="*/ 64 h 74"/>
                <a:gd name="T6" fmla="*/ 22 w 50"/>
                <a:gd name="T7" fmla="*/ 71 h 74"/>
                <a:gd name="T8" fmla="*/ 34 w 50"/>
                <a:gd name="T9" fmla="*/ 73 h 74"/>
                <a:gd name="T10" fmla="*/ 42 w 50"/>
                <a:gd name="T11" fmla="*/ 67 h 74"/>
                <a:gd name="T12" fmla="*/ 47 w 50"/>
                <a:gd name="T13" fmla="*/ 57 h 74"/>
                <a:gd name="T14" fmla="*/ 47 w 50"/>
                <a:gd name="T15" fmla="*/ 25 h 74"/>
                <a:gd name="T16" fmla="*/ 35 w 50"/>
                <a:gd name="T17" fmla="*/ 6 h 74"/>
                <a:gd name="T18" fmla="*/ 25 w 50"/>
                <a:gd name="T19" fmla="*/ 1 h 74"/>
                <a:gd name="T20" fmla="*/ 14 w 50"/>
                <a:gd name="T21" fmla="*/ 2 h 74"/>
                <a:gd name="T22" fmla="*/ 5 w 50"/>
                <a:gd name="T23" fmla="*/ 10 h 74"/>
                <a:gd name="T24" fmla="*/ 2 w 50"/>
                <a:gd name="T25" fmla="*/ 2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4">
                  <a:moveTo>
                    <a:pt x="2" y="22"/>
                  </a:moveTo>
                  <a:cubicBezTo>
                    <a:pt x="0" y="31"/>
                    <a:pt x="0" y="40"/>
                    <a:pt x="3" y="49"/>
                  </a:cubicBezTo>
                  <a:cubicBezTo>
                    <a:pt x="5" y="55"/>
                    <a:pt x="9" y="60"/>
                    <a:pt x="13" y="64"/>
                  </a:cubicBezTo>
                  <a:cubicBezTo>
                    <a:pt x="15" y="67"/>
                    <a:pt x="19" y="70"/>
                    <a:pt x="22" y="71"/>
                  </a:cubicBezTo>
                  <a:cubicBezTo>
                    <a:pt x="26" y="73"/>
                    <a:pt x="30" y="74"/>
                    <a:pt x="34" y="73"/>
                  </a:cubicBezTo>
                  <a:cubicBezTo>
                    <a:pt x="37" y="72"/>
                    <a:pt x="40" y="70"/>
                    <a:pt x="42" y="67"/>
                  </a:cubicBezTo>
                  <a:cubicBezTo>
                    <a:pt x="45" y="64"/>
                    <a:pt x="46" y="61"/>
                    <a:pt x="47" y="57"/>
                  </a:cubicBezTo>
                  <a:cubicBezTo>
                    <a:pt x="50" y="47"/>
                    <a:pt x="50" y="36"/>
                    <a:pt x="47" y="25"/>
                  </a:cubicBezTo>
                  <a:cubicBezTo>
                    <a:pt x="44" y="18"/>
                    <a:pt x="41" y="11"/>
                    <a:pt x="35" y="6"/>
                  </a:cubicBezTo>
                  <a:cubicBezTo>
                    <a:pt x="32" y="3"/>
                    <a:pt x="28" y="1"/>
                    <a:pt x="25" y="1"/>
                  </a:cubicBezTo>
                  <a:cubicBezTo>
                    <a:pt x="21" y="0"/>
                    <a:pt x="17" y="0"/>
                    <a:pt x="14" y="2"/>
                  </a:cubicBezTo>
                  <a:cubicBezTo>
                    <a:pt x="10" y="3"/>
                    <a:pt x="7" y="6"/>
                    <a:pt x="5" y="10"/>
                  </a:cubicBezTo>
                  <a:cubicBezTo>
                    <a:pt x="3" y="14"/>
                    <a:pt x="2" y="18"/>
                    <a:pt x="2" y="22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69" name="Freeform 26"/>
            <p:cNvSpPr>
              <a:spLocks/>
            </p:cNvSpPr>
            <p:nvPr/>
          </p:nvSpPr>
          <p:spPr bwMode="auto">
            <a:xfrm>
              <a:off x="4184205" y="1695890"/>
              <a:ext cx="119324" cy="178984"/>
            </a:xfrm>
            <a:custGeom>
              <a:avLst/>
              <a:gdLst>
                <a:gd name="T0" fmla="*/ 1 w 18"/>
                <a:gd name="T1" fmla="*/ 5 h 29"/>
                <a:gd name="T2" fmla="*/ 6 w 18"/>
                <a:gd name="T3" fmla="*/ 10 h 29"/>
                <a:gd name="T4" fmla="*/ 9 w 18"/>
                <a:gd name="T5" fmla="*/ 15 h 29"/>
                <a:gd name="T6" fmla="*/ 11 w 18"/>
                <a:gd name="T7" fmla="*/ 28 h 29"/>
                <a:gd name="T8" fmla="*/ 15 w 18"/>
                <a:gd name="T9" fmla="*/ 28 h 29"/>
                <a:gd name="T10" fmla="*/ 16 w 18"/>
                <a:gd name="T11" fmla="*/ 12 h 29"/>
                <a:gd name="T12" fmla="*/ 8 w 18"/>
                <a:gd name="T13" fmla="*/ 2 h 29"/>
                <a:gd name="T14" fmla="*/ 1 w 18"/>
                <a:gd name="T15" fmla="*/ 1 h 29"/>
                <a:gd name="T16" fmla="*/ 1 w 18"/>
                <a:gd name="T17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29">
                  <a:moveTo>
                    <a:pt x="1" y="5"/>
                  </a:moveTo>
                  <a:cubicBezTo>
                    <a:pt x="2" y="8"/>
                    <a:pt x="4" y="8"/>
                    <a:pt x="6" y="10"/>
                  </a:cubicBezTo>
                  <a:cubicBezTo>
                    <a:pt x="7" y="12"/>
                    <a:pt x="9" y="13"/>
                    <a:pt x="9" y="15"/>
                  </a:cubicBezTo>
                  <a:cubicBezTo>
                    <a:pt x="11" y="19"/>
                    <a:pt x="8" y="25"/>
                    <a:pt x="11" y="28"/>
                  </a:cubicBezTo>
                  <a:cubicBezTo>
                    <a:pt x="12" y="29"/>
                    <a:pt x="14" y="29"/>
                    <a:pt x="15" y="28"/>
                  </a:cubicBezTo>
                  <a:cubicBezTo>
                    <a:pt x="18" y="24"/>
                    <a:pt x="18" y="17"/>
                    <a:pt x="16" y="12"/>
                  </a:cubicBezTo>
                  <a:cubicBezTo>
                    <a:pt x="15" y="8"/>
                    <a:pt x="12" y="4"/>
                    <a:pt x="8" y="2"/>
                  </a:cubicBezTo>
                  <a:cubicBezTo>
                    <a:pt x="6" y="1"/>
                    <a:pt x="3" y="0"/>
                    <a:pt x="1" y="1"/>
                  </a:cubicBezTo>
                  <a:cubicBezTo>
                    <a:pt x="0" y="2"/>
                    <a:pt x="1" y="4"/>
                    <a:pt x="1" y="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70" name="Freeform 27"/>
            <p:cNvSpPr>
              <a:spLocks/>
            </p:cNvSpPr>
            <p:nvPr/>
          </p:nvSpPr>
          <p:spPr bwMode="auto">
            <a:xfrm>
              <a:off x="5099021" y="1238485"/>
              <a:ext cx="278422" cy="238646"/>
            </a:xfrm>
            <a:custGeom>
              <a:avLst/>
              <a:gdLst>
                <a:gd name="T0" fmla="*/ 6 w 49"/>
                <a:gd name="T1" fmla="*/ 0 h 44"/>
                <a:gd name="T2" fmla="*/ 0 w 49"/>
                <a:gd name="T3" fmla="*/ 3 h 44"/>
                <a:gd name="T4" fmla="*/ 20 w 49"/>
                <a:gd name="T5" fmla="*/ 11 h 44"/>
                <a:gd name="T6" fmla="*/ 48 w 49"/>
                <a:gd name="T7" fmla="*/ 44 h 44"/>
                <a:gd name="T8" fmla="*/ 47 w 49"/>
                <a:gd name="T9" fmla="*/ 34 h 44"/>
                <a:gd name="T10" fmla="*/ 23 w 49"/>
                <a:gd name="T11" fmla="*/ 4 h 44"/>
                <a:gd name="T12" fmla="*/ 6 w 49"/>
                <a:gd name="T1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44">
                  <a:moveTo>
                    <a:pt x="6" y="0"/>
                  </a:moveTo>
                  <a:cubicBezTo>
                    <a:pt x="4" y="0"/>
                    <a:pt x="1" y="0"/>
                    <a:pt x="0" y="3"/>
                  </a:cubicBezTo>
                  <a:cubicBezTo>
                    <a:pt x="7" y="4"/>
                    <a:pt x="14" y="7"/>
                    <a:pt x="20" y="11"/>
                  </a:cubicBezTo>
                  <a:cubicBezTo>
                    <a:pt x="32" y="19"/>
                    <a:pt x="41" y="31"/>
                    <a:pt x="48" y="44"/>
                  </a:cubicBezTo>
                  <a:cubicBezTo>
                    <a:pt x="49" y="42"/>
                    <a:pt x="48" y="37"/>
                    <a:pt x="47" y="34"/>
                  </a:cubicBezTo>
                  <a:cubicBezTo>
                    <a:pt x="42" y="22"/>
                    <a:pt x="36" y="13"/>
                    <a:pt x="23" y="4"/>
                  </a:cubicBezTo>
                  <a:cubicBezTo>
                    <a:pt x="17" y="0"/>
                    <a:pt x="12" y="0"/>
                    <a:pt x="6" y="0"/>
                  </a:cubicBezTo>
                  <a:close/>
                </a:path>
              </a:pathLst>
            </a:custGeom>
            <a:solidFill>
              <a:srgbClr val="FDFD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71" name="Freeform 28"/>
            <p:cNvSpPr>
              <a:spLocks/>
            </p:cNvSpPr>
            <p:nvPr/>
          </p:nvSpPr>
          <p:spPr bwMode="auto">
            <a:xfrm>
              <a:off x="4164317" y="1278260"/>
              <a:ext cx="258535" cy="218759"/>
            </a:xfrm>
            <a:custGeom>
              <a:avLst/>
              <a:gdLst>
                <a:gd name="T0" fmla="*/ 3 w 46"/>
                <a:gd name="T1" fmla="*/ 1 h 37"/>
                <a:gd name="T2" fmla="*/ 1 w 46"/>
                <a:gd name="T3" fmla="*/ 1 h 37"/>
                <a:gd name="T4" fmla="*/ 0 w 46"/>
                <a:gd name="T5" fmla="*/ 1 h 37"/>
                <a:gd name="T6" fmla="*/ 12 w 46"/>
                <a:gd name="T7" fmla="*/ 4 h 37"/>
                <a:gd name="T8" fmla="*/ 27 w 46"/>
                <a:gd name="T9" fmla="*/ 13 h 37"/>
                <a:gd name="T10" fmla="*/ 46 w 46"/>
                <a:gd name="T11" fmla="*/ 37 h 37"/>
                <a:gd name="T12" fmla="*/ 39 w 46"/>
                <a:gd name="T13" fmla="*/ 18 h 37"/>
                <a:gd name="T14" fmla="*/ 34 w 46"/>
                <a:gd name="T15" fmla="*/ 13 h 37"/>
                <a:gd name="T16" fmla="*/ 18 w 46"/>
                <a:gd name="T17" fmla="*/ 4 h 37"/>
                <a:gd name="T18" fmla="*/ 3 w 46"/>
                <a:gd name="T19" fmla="*/ 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37">
                  <a:moveTo>
                    <a:pt x="3" y="1"/>
                  </a:moveTo>
                  <a:cubicBezTo>
                    <a:pt x="3" y="0"/>
                    <a:pt x="2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4" y="1"/>
                    <a:pt x="8" y="2"/>
                    <a:pt x="12" y="4"/>
                  </a:cubicBezTo>
                  <a:cubicBezTo>
                    <a:pt x="18" y="6"/>
                    <a:pt x="23" y="9"/>
                    <a:pt x="27" y="13"/>
                  </a:cubicBezTo>
                  <a:cubicBezTo>
                    <a:pt x="36" y="20"/>
                    <a:pt x="42" y="28"/>
                    <a:pt x="46" y="37"/>
                  </a:cubicBezTo>
                  <a:cubicBezTo>
                    <a:pt x="45" y="30"/>
                    <a:pt x="43" y="24"/>
                    <a:pt x="39" y="18"/>
                  </a:cubicBezTo>
                  <a:cubicBezTo>
                    <a:pt x="38" y="16"/>
                    <a:pt x="36" y="15"/>
                    <a:pt x="34" y="13"/>
                  </a:cubicBezTo>
                  <a:cubicBezTo>
                    <a:pt x="29" y="10"/>
                    <a:pt x="24" y="6"/>
                    <a:pt x="18" y="4"/>
                  </a:cubicBezTo>
                  <a:cubicBezTo>
                    <a:pt x="14" y="2"/>
                    <a:pt x="9" y="1"/>
                    <a:pt x="3" y="1"/>
                  </a:cubicBezTo>
                  <a:close/>
                </a:path>
              </a:pathLst>
            </a:custGeom>
            <a:solidFill>
              <a:srgbClr val="FDFD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72" name="Freeform 29"/>
            <p:cNvSpPr>
              <a:spLocks/>
            </p:cNvSpPr>
            <p:nvPr/>
          </p:nvSpPr>
          <p:spPr bwMode="auto">
            <a:xfrm>
              <a:off x="3945557" y="1854987"/>
              <a:ext cx="1411998" cy="735825"/>
            </a:xfrm>
            <a:custGeom>
              <a:avLst/>
              <a:gdLst>
                <a:gd name="T0" fmla="*/ 32 w 243"/>
                <a:gd name="T1" fmla="*/ 41 h 125"/>
                <a:gd name="T2" fmla="*/ 12 w 243"/>
                <a:gd name="T3" fmla="*/ 60 h 125"/>
                <a:gd name="T4" fmla="*/ 3 w 243"/>
                <a:gd name="T5" fmla="*/ 72 h 125"/>
                <a:gd name="T6" fmla="*/ 1 w 243"/>
                <a:gd name="T7" fmla="*/ 86 h 125"/>
                <a:gd name="T8" fmla="*/ 0 w 243"/>
                <a:gd name="T9" fmla="*/ 91 h 125"/>
                <a:gd name="T10" fmla="*/ 1 w 243"/>
                <a:gd name="T11" fmla="*/ 93 h 125"/>
                <a:gd name="T12" fmla="*/ 2 w 243"/>
                <a:gd name="T13" fmla="*/ 95 h 125"/>
                <a:gd name="T14" fmla="*/ 5 w 243"/>
                <a:gd name="T15" fmla="*/ 97 h 125"/>
                <a:gd name="T16" fmla="*/ 9 w 243"/>
                <a:gd name="T17" fmla="*/ 97 h 125"/>
                <a:gd name="T18" fmla="*/ 25 w 243"/>
                <a:gd name="T19" fmla="*/ 104 h 125"/>
                <a:gd name="T20" fmla="*/ 40 w 243"/>
                <a:gd name="T21" fmla="*/ 114 h 125"/>
                <a:gd name="T22" fmla="*/ 77 w 243"/>
                <a:gd name="T23" fmla="*/ 125 h 125"/>
                <a:gd name="T24" fmla="*/ 115 w 243"/>
                <a:gd name="T25" fmla="*/ 121 h 125"/>
                <a:gd name="T26" fmla="*/ 145 w 243"/>
                <a:gd name="T27" fmla="*/ 113 h 125"/>
                <a:gd name="T28" fmla="*/ 186 w 243"/>
                <a:gd name="T29" fmla="*/ 88 h 125"/>
                <a:gd name="T30" fmla="*/ 203 w 243"/>
                <a:gd name="T31" fmla="*/ 75 h 125"/>
                <a:gd name="T32" fmla="*/ 208 w 243"/>
                <a:gd name="T33" fmla="*/ 70 h 125"/>
                <a:gd name="T34" fmla="*/ 214 w 243"/>
                <a:gd name="T35" fmla="*/ 66 h 125"/>
                <a:gd name="T36" fmla="*/ 225 w 243"/>
                <a:gd name="T37" fmla="*/ 66 h 125"/>
                <a:gd name="T38" fmla="*/ 234 w 243"/>
                <a:gd name="T39" fmla="*/ 67 h 125"/>
                <a:gd name="T40" fmla="*/ 238 w 243"/>
                <a:gd name="T41" fmla="*/ 66 h 125"/>
                <a:gd name="T42" fmla="*/ 241 w 243"/>
                <a:gd name="T43" fmla="*/ 64 h 125"/>
                <a:gd name="T44" fmla="*/ 243 w 243"/>
                <a:gd name="T45" fmla="*/ 58 h 125"/>
                <a:gd name="T46" fmla="*/ 242 w 243"/>
                <a:gd name="T47" fmla="*/ 53 h 125"/>
                <a:gd name="T48" fmla="*/ 233 w 243"/>
                <a:gd name="T49" fmla="*/ 46 h 125"/>
                <a:gd name="T50" fmla="*/ 219 w 243"/>
                <a:gd name="T51" fmla="*/ 42 h 125"/>
                <a:gd name="T52" fmla="*/ 175 w 243"/>
                <a:gd name="T53" fmla="*/ 26 h 125"/>
                <a:gd name="T54" fmla="*/ 155 w 243"/>
                <a:gd name="T55" fmla="*/ 15 h 125"/>
                <a:gd name="T56" fmla="*/ 133 w 243"/>
                <a:gd name="T57" fmla="*/ 6 h 125"/>
                <a:gd name="T58" fmla="*/ 81 w 243"/>
                <a:gd name="T59" fmla="*/ 8 h 125"/>
                <a:gd name="T60" fmla="*/ 32 w 243"/>
                <a:gd name="T61" fmla="*/ 41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43" h="125">
                  <a:moveTo>
                    <a:pt x="32" y="41"/>
                  </a:moveTo>
                  <a:cubicBezTo>
                    <a:pt x="25" y="47"/>
                    <a:pt x="18" y="53"/>
                    <a:pt x="12" y="60"/>
                  </a:cubicBezTo>
                  <a:cubicBezTo>
                    <a:pt x="8" y="63"/>
                    <a:pt x="4" y="67"/>
                    <a:pt x="3" y="72"/>
                  </a:cubicBezTo>
                  <a:cubicBezTo>
                    <a:pt x="1" y="77"/>
                    <a:pt x="2" y="81"/>
                    <a:pt x="1" y="86"/>
                  </a:cubicBezTo>
                  <a:cubicBezTo>
                    <a:pt x="1" y="87"/>
                    <a:pt x="0" y="89"/>
                    <a:pt x="0" y="91"/>
                  </a:cubicBezTo>
                  <a:cubicBezTo>
                    <a:pt x="0" y="91"/>
                    <a:pt x="0" y="92"/>
                    <a:pt x="1" y="93"/>
                  </a:cubicBezTo>
                  <a:cubicBezTo>
                    <a:pt x="1" y="94"/>
                    <a:pt x="1" y="94"/>
                    <a:pt x="2" y="95"/>
                  </a:cubicBezTo>
                  <a:cubicBezTo>
                    <a:pt x="3" y="96"/>
                    <a:pt x="4" y="96"/>
                    <a:pt x="5" y="97"/>
                  </a:cubicBezTo>
                  <a:cubicBezTo>
                    <a:pt x="7" y="97"/>
                    <a:pt x="8" y="97"/>
                    <a:pt x="9" y="97"/>
                  </a:cubicBezTo>
                  <a:cubicBezTo>
                    <a:pt x="15" y="98"/>
                    <a:pt x="20" y="101"/>
                    <a:pt x="25" y="104"/>
                  </a:cubicBezTo>
                  <a:cubicBezTo>
                    <a:pt x="30" y="107"/>
                    <a:pt x="35" y="111"/>
                    <a:pt x="40" y="114"/>
                  </a:cubicBezTo>
                  <a:cubicBezTo>
                    <a:pt x="51" y="121"/>
                    <a:pt x="64" y="124"/>
                    <a:pt x="77" y="125"/>
                  </a:cubicBezTo>
                  <a:cubicBezTo>
                    <a:pt x="90" y="125"/>
                    <a:pt x="103" y="123"/>
                    <a:pt x="115" y="121"/>
                  </a:cubicBezTo>
                  <a:cubicBezTo>
                    <a:pt x="126" y="119"/>
                    <a:pt x="136" y="116"/>
                    <a:pt x="145" y="113"/>
                  </a:cubicBezTo>
                  <a:cubicBezTo>
                    <a:pt x="160" y="107"/>
                    <a:pt x="173" y="98"/>
                    <a:pt x="186" y="88"/>
                  </a:cubicBezTo>
                  <a:cubicBezTo>
                    <a:pt x="192" y="84"/>
                    <a:pt x="198" y="80"/>
                    <a:pt x="203" y="75"/>
                  </a:cubicBezTo>
                  <a:cubicBezTo>
                    <a:pt x="204" y="73"/>
                    <a:pt x="206" y="71"/>
                    <a:pt x="208" y="70"/>
                  </a:cubicBezTo>
                  <a:cubicBezTo>
                    <a:pt x="210" y="68"/>
                    <a:pt x="212" y="67"/>
                    <a:pt x="214" y="66"/>
                  </a:cubicBezTo>
                  <a:cubicBezTo>
                    <a:pt x="218" y="65"/>
                    <a:pt x="222" y="65"/>
                    <a:pt x="225" y="66"/>
                  </a:cubicBezTo>
                  <a:cubicBezTo>
                    <a:pt x="228" y="66"/>
                    <a:pt x="231" y="67"/>
                    <a:pt x="234" y="67"/>
                  </a:cubicBezTo>
                  <a:cubicBezTo>
                    <a:pt x="235" y="67"/>
                    <a:pt x="237" y="66"/>
                    <a:pt x="238" y="66"/>
                  </a:cubicBezTo>
                  <a:cubicBezTo>
                    <a:pt x="239" y="65"/>
                    <a:pt x="240" y="65"/>
                    <a:pt x="241" y="64"/>
                  </a:cubicBezTo>
                  <a:cubicBezTo>
                    <a:pt x="242" y="62"/>
                    <a:pt x="243" y="60"/>
                    <a:pt x="243" y="58"/>
                  </a:cubicBezTo>
                  <a:cubicBezTo>
                    <a:pt x="243" y="57"/>
                    <a:pt x="242" y="55"/>
                    <a:pt x="242" y="53"/>
                  </a:cubicBezTo>
                  <a:cubicBezTo>
                    <a:pt x="240" y="50"/>
                    <a:pt x="236" y="48"/>
                    <a:pt x="233" y="46"/>
                  </a:cubicBezTo>
                  <a:cubicBezTo>
                    <a:pt x="228" y="44"/>
                    <a:pt x="223" y="43"/>
                    <a:pt x="219" y="42"/>
                  </a:cubicBezTo>
                  <a:cubicBezTo>
                    <a:pt x="203" y="38"/>
                    <a:pt x="189" y="33"/>
                    <a:pt x="175" y="26"/>
                  </a:cubicBezTo>
                  <a:cubicBezTo>
                    <a:pt x="168" y="23"/>
                    <a:pt x="161" y="19"/>
                    <a:pt x="155" y="15"/>
                  </a:cubicBezTo>
                  <a:cubicBezTo>
                    <a:pt x="148" y="12"/>
                    <a:pt x="140" y="8"/>
                    <a:pt x="133" y="6"/>
                  </a:cubicBezTo>
                  <a:cubicBezTo>
                    <a:pt x="116" y="0"/>
                    <a:pt x="97" y="2"/>
                    <a:pt x="81" y="8"/>
                  </a:cubicBezTo>
                  <a:cubicBezTo>
                    <a:pt x="62" y="14"/>
                    <a:pt x="45" y="26"/>
                    <a:pt x="32" y="41"/>
                  </a:cubicBezTo>
                  <a:close/>
                </a:path>
              </a:pathLst>
            </a:custGeom>
            <a:solidFill>
              <a:srgbClr val="002050"/>
            </a:solidFill>
            <a:ln w="1588" cap="flat">
              <a:solidFill>
                <a:srgbClr val="00205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73" name="Freeform 30"/>
            <p:cNvSpPr>
              <a:spLocks/>
            </p:cNvSpPr>
            <p:nvPr/>
          </p:nvSpPr>
          <p:spPr bwMode="auto">
            <a:xfrm>
              <a:off x="3945557" y="2232843"/>
              <a:ext cx="1431886" cy="656276"/>
            </a:xfrm>
            <a:custGeom>
              <a:avLst/>
              <a:gdLst>
                <a:gd name="T0" fmla="*/ 0 w 247"/>
                <a:gd name="T1" fmla="*/ 42 h 113"/>
                <a:gd name="T2" fmla="*/ 35 w 247"/>
                <a:gd name="T3" fmla="*/ 72 h 113"/>
                <a:gd name="T4" fmla="*/ 65 w 247"/>
                <a:gd name="T5" fmla="*/ 102 h 113"/>
                <a:gd name="T6" fmla="*/ 94 w 247"/>
                <a:gd name="T7" fmla="*/ 112 h 113"/>
                <a:gd name="T8" fmla="*/ 131 w 247"/>
                <a:gd name="T9" fmla="*/ 108 h 113"/>
                <a:gd name="T10" fmla="*/ 162 w 247"/>
                <a:gd name="T11" fmla="*/ 96 h 113"/>
                <a:gd name="T12" fmla="*/ 216 w 247"/>
                <a:gd name="T13" fmla="*/ 63 h 113"/>
                <a:gd name="T14" fmla="*/ 230 w 247"/>
                <a:gd name="T15" fmla="*/ 59 h 113"/>
                <a:gd name="T16" fmla="*/ 236 w 247"/>
                <a:gd name="T17" fmla="*/ 55 h 113"/>
                <a:gd name="T18" fmla="*/ 240 w 247"/>
                <a:gd name="T19" fmla="*/ 50 h 113"/>
                <a:gd name="T20" fmla="*/ 243 w 247"/>
                <a:gd name="T21" fmla="*/ 37 h 113"/>
                <a:gd name="T22" fmla="*/ 246 w 247"/>
                <a:gd name="T23" fmla="*/ 24 h 113"/>
                <a:gd name="T24" fmla="*/ 245 w 247"/>
                <a:gd name="T25" fmla="*/ 11 h 113"/>
                <a:gd name="T26" fmla="*/ 236 w 247"/>
                <a:gd name="T27" fmla="*/ 2 h 113"/>
                <a:gd name="T28" fmla="*/ 225 w 247"/>
                <a:gd name="T29" fmla="*/ 0 h 113"/>
                <a:gd name="T30" fmla="*/ 200 w 247"/>
                <a:gd name="T31" fmla="*/ 3 h 113"/>
                <a:gd name="T32" fmla="*/ 168 w 247"/>
                <a:gd name="T33" fmla="*/ 3 h 113"/>
                <a:gd name="T34" fmla="*/ 129 w 247"/>
                <a:gd name="T35" fmla="*/ 6 h 113"/>
                <a:gd name="T36" fmla="*/ 83 w 247"/>
                <a:gd name="T37" fmla="*/ 4 h 113"/>
                <a:gd name="T38" fmla="*/ 45 w 247"/>
                <a:gd name="T39" fmla="*/ 12 h 113"/>
                <a:gd name="T40" fmla="*/ 30 w 247"/>
                <a:gd name="T41" fmla="*/ 23 h 113"/>
                <a:gd name="T42" fmla="*/ 14 w 247"/>
                <a:gd name="T43" fmla="*/ 31 h 113"/>
                <a:gd name="T44" fmla="*/ 9 w 247"/>
                <a:gd name="T45" fmla="*/ 31 h 113"/>
                <a:gd name="T46" fmla="*/ 2 w 247"/>
                <a:gd name="T47" fmla="*/ 35 h 113"/>
                <a:gd name="T48" fmla="*/ 0 w 247"/>
                <a:gd name="T49" fmla="*/ 4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7" h="113">
                  <a:moveTo>
                    <a:pt x="0" y="42"/>
                  </a:moveTo>
                  <a:cubicBezTo>
                    <a:pt x="13" y="50"/>
                    <a:pt x="25" y="60"/>
                    <a:pt x="35" y="72"/>
                  </a:cubicBezTo>
                  <a:cubicBezTo>
                    <a:pt x="45" y="82"/>
                    <a:pt x="53" y="95"/>
                    <a:pt x="65" y="102"/>
                  </a:cubicBezTo>
                  <a:cubicBezTo>
                    <a:pt x="74" y="108"/>
                    <a:pt x="84" y="111"/>
                    <a:pt x="94" y="112"/>
                  </a:cubicBezTo>
                  <a:cubicBezTo>
                    <a:pt x="106" y="113"/>
                    <a:pt x="119" y="111"/>
                    <a:pt x="131" y="108"/>
                  </a:cubicBezTo>
                  <a:cubicBezTo>
                    <a:pt x="142" y="105"/>
                    <a:pt x="152" y="101"/>
                    <a:pt x="162" y="96"/>
                  </a:cubicBezTo>
                  <a:cubicBezTo>
                    <a:pt x="180" y="85"/>
                    <a:pt x="196" y="69"/>
                    <a:pt x="216" y="63"/>
                  </a:cubicBezTo>
                  <a:cubicBezTo>
                    <a:pt x="221" y="61"/>
                    <a:pt x="225" y="60"/>
                    <a:pt x="230" y="59"/>
                  </a:cubicBezTo>
                  <a:cubicBezTo>
                    <a:pt x="232" y="58"/>
                    <a:pt x="234" y="56"/>
                    <a:pt x="236" y="55"/>
                  </a:cubicBezTo>
                  <a:cubicBezTo>
                    <a:pt x="238" y="54"/>
                    <a:pt x="239" y="52"/>
                    <a:pt x="240" y="50"/>
                  </a:cubicBezTo>
                  <a:cubicBezTo>
                    <a:pt x="242" y="46"/>
                    <a:pt x="242" y="41"/>
                    <a:pt x="243" y="37"/>
                  </a:cubicBezTo>
                  <a:cubicBezTo>
                    <a:pt x="243" y="33"/>
                    <a:pt x="245" y="29"/>
                    <a:pt x="246" y="24"/>
                  </a:cubicBezTo>
                  <a:cubicBezTo>
                    <a:pt x="246" y="20"/>
                    <a:pt x="247" y="15"/>
                    <a:pt x="245" y="11"/>
                  </a:cubicBezTo>
                  <a:cubicBezTo>
                    <a:pt x="243" y="7"/>
                    <a:pt x="240" y="4"/>
                    <a:pt x="236" y="2"/>
                  </a:cubicBezTo>
                  <a:cubicBezTo>
                    <a:pt x="233" y="1"/>
                    <a:pt x="229" y="0"/>
                    <a:pt x="225" y="0"/>
                  </a:cubicBezTo>
                  <a:cubicBezTo>
                    <a:pt x="216" y="0"/>
                    <a:pt x="208" y="2"/>
                    <a:pt x="200" y="3"/>
                  </a:cubicBezTo>
                  <a:cubicBezTo>
                    <a:pt x="190" y="4"/>
                    <a:pt x="179" y="2"/>
                    <a:pt x="168" y="3"/>
                  </a:cubicBezTo>
                  <a:cubicBezTo>
                    <a:pt x="155" y="3"/>
                    <a:pt x="142" y="6"/>
                    <a:pt x="129" y="6"/>
                  </a:cubicBezTo>
                  <a:cubicBezTo>
                    <a:pt x="113" y="7"/>
                    <a:pt x="98" y="5"/>
                    <a:pt x="83" y="4"/>
                  </a:cubicBezTo>
                  <a:cubicBezTo>
                    <a:pt x="70" y="4"/>
                    <a:pt x="56" y="5"/>
                    <a:pt x="45" y="12"/>
                  </a:cubicBezTo>
                  <a:cubicBezTo>
                    <a:pt x="40" y="15"/>
                    <a:pt x="35" y="19"/>
                    <a:pt x="30" y="23"/>
                  </a:cubicBezTo>
                  <a:cubicBezTo>
                    <a:pt x="26" y="27"/>
                    <a:pt x="20" y="30"/>
                    <a:pt x="14" y="31"/>
                  </a:cubicBezTo>
                  <a:cubicBezTo>
                    <a:pt x="12" y="31"/>
                    <a:pt x="10" y="30"/>
                    <a:pt x="9" y="31"/>
                  </a:cubicBezTo>
                  <a:cubicBezTo>
                    <a:pt x="6" y="31"/>
                    <a:pt x="4" y="33"/>
                    <a:pt x="2" y="35"/>
                  </a:cubicBezTo>
                  <a:cubicBezTo>
                    <a:pt x="1" y="37"/>
                    <a:pt x="0" y="39"/>
                    <a:pt x="0" y="42"/>
                  </a:cubicBezTo>
                  <a:close/>
                </a:path>
              </a:pathLst>
            </a:custGeom>
            <a:solidFill>
              <a:srgbClr val="002050"/>
            </a:solidFill>
            <a:ln w="6350" cap="rnd">
              <a:solidFill>
                <a:srgbClr val="002050"/>
              </a:solidFill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74" name="Freeform 31"/>
            <p:cNvSpPr>
              <a:spLocks/>
            </p:cNvSpPr>
            <p:nvPr/>
          </p:nvSpPr>
          <p:spPr bwMode="auto">
            <a:xfrm>
              <a:off x="3965444" y="2153294"/>
              <a:ext cx="1411998" cy="715937"/>
            </a:xfrm>
            <a:custGeom>
              <a:avLst/>
              <a:gdLst>
                <a:gd name="T0" fmla="*/ 0 w 245"/>
                <a:gd name="T1" fmla="*/ 45 h 124"/>
                <a:gd name="T2" fmla="*/ 1 w 245"/>
                <a:gd name="T3" fmla="*/ 48 h 124"/>
                <a:gd name="T4" fmla="*/ 5 w 245"/>
                <a:gd name="T5" fmla="*/ 53 h 124"/>
                <a:gd name="T6" fmla="*/ 11 w 245"/>
                <a:gd name="T7" fmla="*/ 56 h 124"/>
                <a:gd name="T8" fmla="*/ 34 w 245"/>
                <a:gd name="T9" fmla="*/ 79 h 124"/>
                <a:gd name="T10" fmla="*/ 64 w 245"/>
                <a:gd name="T11" fmla="*/ 112 h 124"/>
                <a:gd name="T12" fmla="*/ 93 w 245"/>
                <a:gd name="T13" fmla="*/ 123 h 124"/>
                <a:gd name="T14" fmla="*/ 130 w 245"/>
                <a:gd name="T15" fmla="*/ 119 h 124"/>
                <a:gd name="T16" fmla="*/ 161 w 245"/>
                <a:gd name="T17" fmla="*/ 105 h 124"/>
                <a:gd name="T18" fmla="*/ 215 w 245"/>
                <a:gd name="T19" fmla="*/ 69 h 124"/>
                <a:gd name="T20" fmla="*/ 229 w 245"/>
                <a:gd name="T21" fmla="*/ 64 h 124"/>
                <a:gd name="T22" fmla="*/ 239 w 245"/>
                <a:gd name="T23" fmla="*/ 55 h 124"/>
                <a:gd name="T24" fmla="*/ 242 w 245"/>
                <a:gd name="T25" fmla="*/ 42 h 124"/>
                <a:gd name="T26" fmla="*/ 245 w 245"/>
                <a:gd name="T27" fmla="*/ 24 h 124"/>
                <a:gd name="T28" fmla="*/ 245 w 245"/>
                <a:gd name="T29" fmla="*/ 15 h 124"/>
                <a:gd name="T30" fmla="*/ 242 w 245"/>
                <a:gd name="T31" fmla="*/ 7 h 124"/>
                <a:gd name="T32" fmla="*/ 232 w 245"/>
                <a:gd name="T33" fmla="*/ 1 h 124"/>
                <a:gd name="T34" fmla="*/ 221 w 245"/>
                <a:gd name="T35" fmla="*/ 0 h 124"/>
                <a:gd name="T36" fmla="*/ 199 w 245"/>
                <a:gd name="T37" fmla="*/ 4 h 124"/>
                <a:gd name="T38" fmla="*/ 167 w 245"/>
                <a:gd name="T39" fmla="*/ 4 h 124"/>
                <a:gd name="T40" fmla="*/ 128 w 245"/>
                <a:gd name="T41" fmla="*/ 8 h 124"/>
                <a:gd name="T42" fmla="*/ 82 w 245"/>
                <a:gd name="T43" fmla="*/ 6 h 124"/>
                <a:gd name="T44" fmla="*/ 62 w 245"/>
                <a:gd name="T45" fmla="*/ 7 h 124"/>
                <a:gd name="T46" fmla="*/ 44 w 245"/>
                <a:gd name="T47" fmla="*/ 14 h 124"/>
                <a:gd name="T48" fmla="*/ 30 w 245"/>
                <a:gd name="T49" fmla="*/ 27 h 124"/>
                <a:gd name="T50" fmla="*/ 22 w 245"/>
                <a:gd name="T51" fmla="*/ 32 h 124"/>
                <a:gd name="T52" fmla="*/ 13 w 245"/>
                <a:gd name="T53" fmla="*/ 34 h 124"/>
                <a:gd name="T54" fmla="*/ 8 w 245"/>
                <a:gd name="T55" fmla="*/ 34 h 124"/>
                <a:gd name="T56" fmla="*/ 5 w 245"/>
                <a:gd name="T57" fmla="*/ 36 h 124"/>
                <a:gd name="T58" fmla="*/ 3 w 245"/>
                <a:gd name="T59" fmla="*/ 39 h 124"/>
                <a:gd name="T60" fmla="*/ 0 w 245"/>
                <a:gd name="T61" fmla="*/ 4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45" h="124">
                  <a:moveTo>
                    <a:pt x="0" y="45"/>
                  </a:moveTo>
                  <a:cubicBezTo>
                    <a:pt x="0" y="46"/>
                    <a:pt x="0" y="47"/>
                    <a:pt x="1" y="48"/>
                  </a:cubicBezTo>
                  <a:cubicBezTo>
                    <a:pt x="2" y="50"/>
                    <a:pt x="4" y="51"/>
                    <a:pt x="5" y="53"/>
                  </a:cubicBezTo>
                  <a:cubicBezTo>
                    <a:pt x="7" y="54"/>
                    <a:pt x="9" y="55"/>
                    <a:pt x="11" y="56"/>
                  </a:cubicBezTo>
                  <a:cubicBezTo>
                    <a:pt x="20" y="62"/>
                    <a:pt x="28" y="70"/>
                    <a:pt x="34" y="79"/>
                  </a:cubicBezTo>
                  <a:cubicBezTo>
                    <a:pt x="44" y="91"/>
                    <a:pt x="52" y="104"/>
                    <a:pt x="64" y="112"/>
                  </a:cubicBezTo>
                  <a:cubicBezTo>
                    <a:pt x="72" y="118"/>
                    <a:pt x="83" y="122"/>
                    <a:pt x="93" y="123"/>
                  </a:cubicBezTo>
                  <a:cubicBezTo>
                    <a:pt x="105" y="124"/>
                    <a:pt x="118" y="122"/>
                    <a:pt x="130" y="119"/>
                  </a:cubicBezTo>
                  <a:cubicBezTo>
                    <a:pt x="141" y="115"/>
                    <a:pt x="151" y="111"/>
                    <a:pt x="161" y="105"/>
                  </a:cubicBezTo>
                  <a:cubicBezTo>
                    <a:pt x="180" y="93"/>
                    <a:pt x="195" y="77"/>
                    <a:pt x="215" y="69"/>
                  </a:cubicBezTo>
                  <a:cubicBezTo>
                    <a:pt x="220" y="68"/>
                    <a:pt x="225" y="66"/>
                    <a:pt x="229" y="64"/>
                  </a:cubicBezTo>
                  <a:cubicBezTo>
                    <a:pt x="233" y="62"/>
                    <a:pt x="237" y="59"/>
                    <a:pt x="239" y="55"/>
                  </a:cubicBezTo>
                  <a:cubicBezTo>
                    <a:pt x="241" y="51"/>
                    <a:pt x="241" y="46"/>
                    <a:pt x="242" y="42"/>
                  </a:cubicBezTo>
                  <a:cubicBezTo>
                    <a:pt x="242" y="36"/>
                    <a:pt x="244" y="30"/>
                    <a:pt x="245" y="24"/>
                  </a:cubicBezTo>
                  <a:cubicBezTo>
                    <a:pt x="245" y="21"/>
                    <a:pt x="245" y="18"/>
                    <a:pt x="245" y="15"/>
                  </a:cubicBezTo>
                  <a:cubicBezTo>
                    <a:pt x="244" y="13"/>
                    <a:pt x="243" y="10"/>
                    <a:pt x="242" y="7"/>
                  </a:cubicBezTo>
                  <a:cubicBezTo>
                    <a:pt x="239" y="4"/>
                    <a:pt x="236" y="2"/>
                    <a:pt x="232" y="1"/>
                  </a:cubicBezTo>
                  <a:cubicBezTo>
                    <a:pt x="229" y="0"/>
                    <a:pt x="225" y="0"/>
                    <a:pt x="221" y="0"/>
                  </a:cubicBezTo>
                  <a:cubicBezTo>
                    <a:pt x="214" y="1"/>
                    <a:pt x="207" y="3"/>
                    <a:pt x="199" y="4"/>
                  </a:cubicBezTo>
                  <a:cubicBezTo>
                    <a:pt x="189" y="6"/>
                    <a:pt x="178" y="4"/>
                    <a:pt x="167" y="4"/>
                  </a:cubicBezTo>
                  <a:cubicBezTo>
                    <a:pt x="154" y="4"/>
                    <a:pt x="141" y="7"/>
                    <a:pt x="128" y="8"/>
                  </a:cubicBezTo>
                  <a:cubicBezTo>
                    <a:pt x="112" y="9"/>
                    <a:pt x="97" y="7"/>
                    <a:pt x="82" y="6"/>
                  </a:cubicBezTo>
                  <a:cubicBezTo>
                    <a:pt x="75" y="6"/>
                    <a:pt x="69" y="6"/>
                    <a:pt x="62" y="7"/>
                  </a:cubicBezTo>
                  <a:cubicBezTo>
                    <a:pt x="56" y="8"/>
                    <a:pt x="50" y="10"/>
                    <a:pt x="44" y="14"/>
                  </a:cubicBezTo>
                  <a:cubicBezTo>
                    <a:pt x="39" y="17"/>
                    <a:pt x="35" y="22"/>
                    <a:pt x="30" y="27"/>
                  </a:cubicBezTo>
                  <a:cubicBezTo>
                    <a:pt x="27" y="29"/>
                    <a:pt x="25" y="31"/>
                    <a:pt x="22" y="32"/>
                  </a:cubicBezTo>
                  <a:cubicBezTo>
                    <a:pt x="19" y="33"/>
                    <a:pt x="16" y="34"/>
                    <a:pt x="13" y="34"/>
                  </a:cubicBezTo>
                  <a:cubicBezTo>
                    <a:pt x="11" y="34"/>
                    <a:pt x="9" y="34"/>
                    <a:pt x="8" y="34"/>
                  </a:cubicBezTo>
                  <a:cubicBezTo>
                    <a:pt x="7" y="35"/>
                    <a:pt x="6" y="35"/>
                    <a:pt x="5" y="36"/>
                  </a:cubicBezTo>
                  <a:cubicBezTo>
                    <a:pt x="4" y="37"/>
                    <a:pt x="4" y="38"/>
                    <a:pt x="3" y="39"/>
                  </a:cubicBezTo>
                  <a:cubicBezTo>
                    <a:pt x="2" y="41"/>
                    <a:pt x="1" y="43"/>
                    <a:pt x="0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75" name="Freeform 32"/>
            <p:cNvSpPr>
              <a:spLocks/>
            </p:cNvSpPr>
            <p:nvPr/>
          </p:nvSpPr>
          <p:spPr bwMode="auto">
            <a:xfrm>
              <a:off x="4005218" y="2093634"/>
              <a:ext cx="1233012" cy="536952"/>
            </a:xfrm>
            <a:custGeom>
              <a:avLst/>
              <a:gdLst>
                <a:gd name="T0" fmla="*/ 24 w 213"/>
                <a:gd name="T1" fmla="*/ 22 h 94"/>
                <a:gd name="T2" fmla="*/ 8 w 213"/>
                <a:gd name="T3" fmla="*/ 33 h 94"/>
                <a:gd name="T4" fmla="*/ 2 w 213"/>
                <a:gd name="T5" fmla="*/ 39 h 94"/>
                <a:gd name="T6" fmla="*/ 0 w 213"/>
                <a:gd name="T7" fmla="*/ 46 h 94"/>
                <a:gd name="T8" fmla="*/ 0 w 213"/>
                <a:gd name="T9" fmla="*/ 53 h 94"/>
                <a:gd name="T10" fmla="*/ 0 w 213"/>
                <a:gd name="T11" fmla="*/ 58 h 94"/>
                <a:gd name="T12" fmla="*/ 0 w 213"/>
                <a:gd name="T13" fmla="*/ 60 h 94"/>
                <a:gd name="T14" fmla="*/ 1 w 213"/>
                <a:gd name="T15" fmla="*/ 62 h 94"/>
                <a:gd name="T16" fmla="*/ 4 w 213"/>
                <a:gd name="T17" fmla="*/ 63 h 94"/>
                <a:gd name="T18" fmla="*/ 6 w 213"/>
                <a:gd name="T19" fmla="*/ 64 h 94"/>
                <a:gd name="T20" fmla="*/ 19 w 213"/>
                <a:gd name="T21" fmla="*/ 71 h 94"/>
                <a:gd name="T22" fmla="*/ 30 w 213"/>
                <a:gd name="T23" fmla="*/ 81 h 94"/>
                <a:gd name="T24" fmla="*/ 66 w 213"/>
                <a:gd name="T25" fmla="*/ 93 h 94"/>
                <a:gd name="T26" fmla="*/ 105 w 213"/>
                <a:gd name="T27" fmla="*/ 88 h 94"/>
                <a:gd name="T28" fmla="*/ 135 w 213"/>
                <a:gd name="T29" fmla="*/ 80 h 94"/>
                <a:gd name="T30" fmla="*/ 176 w 213"/>
                <a:gd name="T31" fmla="*/ 55 h 94"/>
                <a:gd name="T32" fmla="*/ 193 w 213"/>
                <a:gd name="T33" fmla="*/ 42 h 94"/>
                <a:gd name="T34" fmla="*/ 210 w 213"/>
                <a:gd name="T35" fmla="*/ 33 h 94"/>
                <a:gd name="T36" fmla="*/ 211 w 213"/>
                <a:gd name="T37" fmla="*/ 32 h 94"/>
                <a:gd name="T38" fmla="*/ 212 w 213"/>
                <a:gd name="T39" fmla="*/ 31 h 94"/>
                <a:gd name="T40" fmla="*/ 212 w 213"/>
                <a:gd name="T41" fmla="*/ 28 h 94"/>
                <a:gd name="T42" fmla="*/ 211 w 213"/>
                <a:gd name="T43" fmla="*/ 25 h 94"/>
                <a:gd name="T44" fmla="*/ 209 w 213"/>
                <a:gd name="T45" fmla="*/ 23 h 94"/>
                <a:gd name="T46" fmla="*/ 187 w 213"/>
                <a:gd name="T47" fmla="*/ 16 h 94"/>
                <a:gd name="T48" fmla="*/ 165 w 213"/>
                <a:gd name="T49" fmla="*/ 14 h 94"/>
                <a:gd name="T50" fmla="*/ 145 w 213"/>
                <a:gd name="T51" fmla="*/ 8 h 94"/>
                <a:gd name="T52" fmla="*/ 123 w 213"/>
                <a:gd name="T53" fmla="*/ 3 h 94"/>
                <a:gd name="T54" fmla="*/ 71 w 213"/>
                <a:gd name="T55" fmla="*/ 4 h 94"/>
                <a:gd name="T56" fmla="*/ 24 w 213"/>
                <a:gd name="T57" fmla="*/ 2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3" h="94">
                  <a:moveTo>
                    <a:pt x="24" y="22"/>
                  </a:moveTo>
                  <a:cubicBezTo>
                    <a:pt x="19" y="25"/>
                    <a:pt x="14" y="29"/>
                    <a:pt x="8" y="33"/>
                  </a:cubicBezTo>
                  <a:cubicBezTo>
                    <a:pt x="6" y="34"/>
                    <a:pt x="3" y="36"/>
                    <a:pt x="2" y="39"/>
                  </a:cubicBezTo>
                  <a:cubicBezTo>
                    <a:pt x="1" y="41"/>
                    <a:pt x="0" y="44"/>
                    <a:pt x="0" y="46"/>
                  </a:cubicBezTo>
                  <a:cubicBezTo>
                    <a:pt x="0" y="48"/>
                    <a:pt x="1" y="51"/>
                    <a:pt x="0" y="53"/>
                  </a:cubicBezTo>
                  <a:cubicBezTo>
                    <a:pt x="0" y="54"/>
                    <a:pt x="0" y="56"/>
                    <a:pt x="0" y="58"/>
                  </a:cubicBezTo>
                  <a:cubicBezTo>
                    <a:pt x="0" y="58"/>
                    <a:pt x="0" y="59"/>
                    <a:pt x="0" y="60"/>
                  </a:cubicBezTo>
                  <a:cubicBezTo>
                    <a:pt x="0" y="61"/>
                    <a:pt x="0" y="61"/>
                    <a:pt x="1" y="62"/>
                  </a:cubicBezTo>
                  <a:cubicBezTo>
                    <a:pt x="2" y="63"/>
                    <a:pt x="3" y="63"/>
                    <a:pt x="4" y="63"/>
                  </a:cubicBezTo>
                  <a:cubicBezTo>
                    <a:pt x="4" y="64"/>
                    <a:pt x="5" y="64"/>
                    <a:pt x="6" y="64"/>
                  </a:cubicBezTo>
                  <a:cubicBezTo>
                    <a:pt x="11" y="65"/>
                    <a:pt x="15" y="68"/>
                    <a:pt x="19" y="71"/>
                  </a:cubicBezTo>
                  <a:cubicBezTo>
                    <a:pt x="23" y="75"/>
                    <a:pt x="26" y="78"/>
                    <a:pt x="30" y="81"/>
                  </a:cubicBezTo>
                  <a:cubicBezTo>
                    <a:pt x="40" y="90"/>
                    <a:pt x="53" y="93"/>
                    <a:pt x="66" y="93"/>
                  </a:cubicBezTo>
                  <a:cubicBezTo>
                    <a:pt x="80" y="94"/>
                    <a:pt x="93" y="91"/>
                    <a:pt x="105" y="88"/>
                  </a:cubicBezTo>
                  <a:cubicBezTo>
                    <a:pt x="116" y="86"/>
                    <a:pt x="126" y="83"/>
                    <a:pt x="135" y="80"/>
                  </a:cubicBezTo>
                  <a:cubicBezTo>
                    <a:pt x="150" y="74"/>
                    <a:pt x="164" y="66"/>
                    <a:pt x="176" y="55"/>
                  </a:cubicBezTo>
                  <a:cubicBezTo>
                    <a:pt x="181" y="51"/>
                    <a:pt x="187" y="46"/>
                    <a:pt x="193" y="42"/>
                  </a:cubicBezTo>
                  <a:cubicBezTo>
                    <a:pt x="198" y="38"/>
                    <a:pt x="204" y="36"/>
                    <a:pt x="210" y="33"/>
                  </a:cubicBezTo>
                  <a:cubicBezTo>
                    <a:pt x="210" y="33"/>
                    <a:pt x="211" y="32"/>
                    <a:pt x="211" y="32"/>
                  </a:cubicBezTo>
                  <a:cubicBezTo>
                    <a:pt x="211" y="31"/>
                    <a:pt x="212" y="31"/>
                    <a:pt x="212" y="31"/>
                  </a:cubicBezTo>
                  <a:cubicBezTo>
                    <a:pt x="213" y="30"/>
                    <a:pt x="213" y="29"/>
                    <a:pt x="212" y="28"/>
                  </a:cubicBezTo>
                  <a:cubicBezTo>
                    <a:pt x="212" y="27"/>
                    <a:pt x="211" y="26"/>
                    <a:pt x="211" y="25"/>
                  </a:cubicBezTo>
                  <a:cubicBezTo>
                    <a:pt x="210" y="24"/>
                    <a:pt x="209" y="24"/>
                    <a:pt x="209" y="23"/>
                  </a:cubicBezTo>
                  <a:cubicBezTo>
                    <a:pt x="203" y="18"/>
                    <a:pt x="195" y="16"/>
                    <a:pt x="187" y="16"/>
                  </a:cubicBezTo>
                  <a:cubicBezTo>
                    <a:pt x="180" y="15"/>
                    <a:pt x="172" y="15"/>
                    <a:pt x="165" y="14"/>
                  </a:cubicBezTo>
                  <a:cubicBezTo>
                    <a:pt x="158" y="13"/>
                    <a:pt x="151" y="10"/>
                    <a:pt x="145" y="8"/>
                  </a:cubicBezTo>
                  <a:cubicBezTo>
                    <a:pt x="137" y="6"/>
                    <a:pt x="130" y="4"/>
                    <a:pt x="123" y="3"/>
                  </a:cubicBezTo>
                  <a:cubicBezTo>
                    <a:pt x="106" y="0"/>
                    <a:pt x="88" y="1"/>
                    <a:pt x="71" y="4"/>
                  </a:cubicBezTo>
                  <a:cubicBezTo>
                    <a:pt x="54" y="8"/>
                    <a:pt x="38" y="14"/>
                    <a:pt x="24" y="22"/>
                  </a:cubicBezTo>
                  <a:close/>
                </a:path>
              </a:pathLst>
            </a:custGeom>
            <a:solidFill>
              <a:srgbClr val="002050"/>
            </a:solidFill>
            <a:ln w="6350" cap="rnd">
              <a:solidFill>
                <a:srgbClr val="002050"/>
              </a:solidFill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76" name="Freeform 33"/>
            <p:cNvSpPr>
              <a:spLocks/>
            </p:cNvSpPr>
            <p:nvPr/>
          </p:nvSpPr>
          <p:spPr bwMode="auto">
            <a:xfrm>
              <a:off x="3945557" y="1894761"/>
              <a:ext cx="1411998" cy="715937"/>
            </a:xfrm>
            <a:custGeom>
              <a:avLst/>
              <a:gdLst>
                <a:gd name="T0" fmla="*/ 32 w 243"/>
                <a:gd name="T1" fmla="*/ 40 h 124"/>
                <a:gd name="T2" fmla="*/ 12 w 243"/>
                <a:gd name="T3" fmla="*/ 59 h 124"/>
                <a:gd name="T4" fmla="*/ 4 w 243"/>
                <a:gd name="T5" fmla="*/ 73 h 124"/>
                <a:gd name="T6" fmla="*/ 1 w 243"/>
                <a:gd name="T7" fmla="*/ 85 h 124"/>
                <a:gd name="T8" fmla="*/ 0 w 243"/>
                <a:gd name="T9" fmla="*/ 90 h 124"/>
                <a:gd name="T10" fmla="*/ 1 w 243"/>
                <a:gd name="T11" fmla="*/ 92 h 124"/>
                <a:gd name="T12" fmla="*/ 2 w 243"/>
                <a:gd name="T13" fmla="*/ 94 h 124"/>
                <a:gd name="T14" fmla="*/ 5 w 243"/>
                <a:gd name="T15" fmla="*/ 96 h 124"/>
                <a:gd name="T16" fmla="*/ 9 w 243"/>
                <a:gd name="T17" fmla="*/ 96 h 124"/>
                <a:gd name="T18" fmla="*/ 25 w 243"/>
                <a:gd name="T19" fmla="*/ 103 h 124"/>
                <a:gd name="T20" fmla="*/ 40 w 243"/>
                <a:gd name="T21" fmla="*/ 113 h 124"/>
                <a:gd name="T22" fmla="*/ 77 w 243"/>
                <a:gd name="T23" fmla="*/ 124 h 124"/>
                <a:gd name="T24" fmla="*/ 115 w 243"/>
                <a:gd name="T25" fmla="*/ 120 h 124"/>
                <a:gd name="T26" fmla="*/ 145 w 243"/>
                <a:gd name="T27" fmla="*/ 112 h 124"/>
                <a:gd name="T28" fmla="*/ 186 w 243"/>
                <a:gd name="T29" fmla="*/ 87 h 124"/>
                <a:gd name="T30" fmla="*/ 203 w 243"/>
                <a:gd name="T31" fmla="*/ 74 h 124"/>
                <a:gd name="T32" fmla="*/ 208 w 243"/>
                <a:gd name="T33" fmla="*/ 69 h 124"/>
                <a:gd name="T34" fmla="*/ 214 w 243"/>
                <a:gd name="T35" fmla="*/ 65 h 124"/>
                <a:gd name="T36" fmla="*/ 225 w 243"/>
                <a:gd name="T37" fmla="*/ 65 h 124"/>
                <a:gd name="T38" fmla="*/ 234 w 243"/>
                <a:gd name="T39" fmla="*/ 66 h 124"/>
                <a:gd name="T40" fmla="*/ 238 w 243"/>
                <a:gd name="T41" fmla="*/ 65 h 124"/>
                <a:gd name="T42" fmla="*/ 241 w 243"/>
                <a:gd name="T43" fmla="*/ 63 h 124"/>
                <a:gd name="T44" fmla="*/ 243 w 243"/>
                <a:gd name="T45" fmla="*/ 57 h 124"/>
                <a:gd name="T46" fmla="*/ 242 w 243"/>
                <a:gd name="T47" fmla="*/ 52 h 124"/>
                <a:gd name="T48" fmla="*/ 233 w 243"/>
                <a:gd name="T49" fmla="*/ 45 h 124"/>
                <a:gd name="T50" fmla="*/ 219 w 243"/>
                <a:gd name="T51" fmla="*/ 41 h 124"/>
                <a:gd name="T52" fmla="*/ 175 w 243"/>
                <a:gd name="T53" fmla="*/ 25 h 124"/>
                <a:gd name="T54" fmla="*/ 155 w 243"/>
                <a:gd name="T55" fmla="*/ 14 h 124"/>
                <a:gd name="T56" fmla="*/ 133 w 243"/>
                <a:gd name="T57" fmla="*/ 5 h 124"/>
                <a:gd name="T58" fmla="*/ 81 w 243"/>
                <a:gd name="T59" fmla="*/ 7 h 124"/>
                <a:gd name="T60" fmla="*/ 32 w 243"/>
                <a:gd name="T61" fmla="*/ 4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43" h="124">
                  <a:moveTo>
                    <a:pt x="32" y="40"/>
                  </a:moveTo>
                  <a:cubicBezTo>
                    <a:pt x="25" y="45"/>
                    <a:pt x="18" y="52"/>
                    <a:pt x="12" y="59"/>
                  </a:cubicBezTo>
                  <a:cubicBezTo>
                    <a:pt x="8" y="63"/>
                    <a:pt x="5" y="67"/>
                    <a:pt x="4" y="73"/>
                  </a:cubicBezTo>
                  <a:cubicBezTo>
                    <a:pt x="2" y="77"/>
                    <a:pt x="2" y="81"/>
                    <a:pt x="1" y="85"/>
                  </a:cubicBezTo>
                  <a:cubicBezTo>
                    <a:pt x="1" y="86"/>
                    <a:pt x="0" y="88"/>
                    <a:pt x="0" y="90"/>
                  </a:cubicBezTo>
                  <a:cubicBezTo>
                    <a:pt x="0" y="90"/>
                    <a:pt x="0" y="91"/>
                    <a:pt x="1" y="92"/>
                  </a:cubicBezTo>
                  <a:cubicBezTo>
                    <a:pt x="1" y="93"/>
                    <a:pt x="1" y="93"/>
                    <a:pt x="2" y="94"/>
                  </a:cubicBezTo>
                  <a:cubicBezTo>
                    <a:pt x="3" y="95"/>
                    <a:pt x="4" y="95"/>
                    <a:pt x="5" y="96"/>
                  </a:cubicBezTo>
                  <a:cubicBezTo>
                    <a:pt x="7" y="96"/>
                    <a:pt x="8" y="96"/>
                    <a:pt x="9" y="96"/>
                  </a:cubicBezTo>
                  <a:cubicBezTo>
                    <a:pt x="15" y="97"/>
                    <a:pt x="20" y="100"/>
                    <a:pt x="25" y="103"/>
                  </a:cubicBezTo>
                  <a:cubicBezTo>
                    <a:pt x="30" y="106"/>
                    <a:pt x="35" y="110"/>
                    <a:pt x="40" y="113"/>
                  </a:cubicBezTo>
                  <a:cubicBezTo>
                    <a:pt x="51" y="120"/>
                    <a:pt x="64" y="123"/>
                    <a:pt x="77" y="124"/>
                  </a:cubicBezTo>
                  <a:cubicBezTo>
                    <a:pt x="90" y="124"/>
                    <a:pt x="103" y="122"/>
                    <a:pt x="115" y="120"/>
                  </a:cubicBezTo>
                  <a:cubicBezTo>
                    <a:pt x="126" y="118"/>
                    <a:pt x="136" y="115"/>
                    <a:pt x="145" y="112"/>
                  </a:cubicBezTo>
                  <a:cubicBezTo>
                    <a:pt x="160" y="106"/>
                    <a:pt x="173" y="97"/>
                    <a:pt x="186" y="87"/>
                  </a:cubicBezTo>
                  <a:cubicBezTo>
                    <a:pt x="192" y="83"/>
                    <a:pt x="198" y="79"/>
                    <a:pt x="203" y="74"/>
                  </a:cubicBezTo>
                  <a:cubicBezTo>
                    <a:pt x="204" y="72"/>
                    <a:pt x="206" y="70"/>
                    <a:pt x="208" y="69"/>
                  </a:cubicBezTo>
                  <a:cubicBezTo>
                    <a:pt x="210" y="67"/>
                    <a:pt x="212" y="66"/>
                    <a:pt x="214" y="65"/>
                  </a:cubicBezTo>
                  <a:cubicBezTo>
                    <a:pt x="218" y="64"/>
                    <a:pt x="222" y="64"/>
                    <a:pt x="225" y="65"/>
                  </a:cubicBezTo>
                  <a:cubicBezTo>
                    <a:pt x="228" y="65"/>
                    <a:pt x="231" y="66"/>
                    <a:pt x="234" y="66"/>
                  </a:cubicBezTo>
                  <a:cubicBezTo>
                    <a:pt x="235" y="66"/>
                    <a:pt x="237" y="65"/>
                    <a:pt x="238" y="65"/>
                  </a:cubicBezTo>
                  <a:cubicBezTo>
                    <a:pt x="239" y="64"/>
                    <a:pt x="240" y="64"/>
                    <a:pt x="241" y="63"/>
                  </a:cubicBezTo>
                  <a:cubicBezTo>
                    <a:pt x="242" y="61"/>
                    <a:pt x="243" y="59"/>
                    <a:pt x="243" y="57"/>
                  </a:cubicBezTo>
                  <a:cubicBezTo>
                    <a:pt x="243" y="56"/>
                    <a:pt x="242" y="54"/>
                    <a:pt x="242" y="52"/>
                  </a:cubicBezTo>
                  <a:cubicBezTo>
                    <a:pt x="240" y="49"/>
                    <a:pt x="236" y="47"/>
                    <a:pt x="233" y="45"/>
                  </a:cubicBezTo>
                  <a:cubicBezTo>
                    <a:pt x="228" y="43"/>
                    <a:pt x="223" y="42"/>
                    <a:pt x="219" y="41"/>
                  </a:cubicBezTo>
                  <a:cubicBezTo>
                    <a:pt x="203" y="37"/>
                    <a:pt x="189" y="32"/>
                    <a:pt x="175" y="25"/>
                  </a:cubicBezTo>
                  <a:cubicBezTo>
                    <a:pt x="168" y="22"/>
                    <a:pt x="161" y="18"/>
                    <a:pt x="155" y="14"/>
                  </a:cubicBezTo>
                  <a:cubicBezTo>
                    <a:pt x="148" y="11"/>
                    <a:pt x="140" y="7"/>
                    <a:pt x="133" y="5"/>
                  </a:cubicBezTo>
                  <a:cubicBezTo>
                    <a:pt x="116" y="0"/>
                    <a:pt x="97" y="1"/>
                    <a:pt x="81" y="7"/>
                  </a:cubicBezTo>
                  <a:cubicBezTo>
                    <a:pt x="62" y="13"/>
                    <a:pt x="45" y="25"/>
                    <a:pt x="32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77" name="Freeform 34"/>
            <p:cNvSpPr>
              <a:spLocks noEditPoints="1"/>
            </p:cNvSpPr>
            <p:nvPr/>
          </p:nvSpPr>
          <p:spPr bwMode="auto">
            <a:xfrm>
              <a:off x="4323416" y="1974310"/>
              <a:ext cx="457408" cy="79549"/>
            </a:xfrm>
            <a:custGeom>
              <a:avLst/>
              <a:gdLst>
                <a:gd name="T0" fmla="*/ 62 w 79"/>
                <a:gd name="T1" fmla="*/ 0 h 12"/>
                <a:gd name="T2" fmla="*/ 57 w 79"/>
                <a:gd name="T3" fmla="*/ 1 h 12"/>
                <a:gd name="T4" fmla="*/ 55 w 79"/>
                <a:gd name="T5" fmla="*/ 4 h 12"/>
                <a:gd name="T6" fmla="*/ 64 w 79"/>
                <a:gd name="T7" fmla="*/ 8 h 12"/>
                <a:gd name="T8" fmla="*/ 71 w 79"/>
                <a:gd name="T9" fmla="*/ 12 h 12"/>
                <a:gd name="T10" fmla="*/ 78 w 79"/>
                <a:gd name="T11" fmla="*/ 8 h 12"/>
                <a:gd name="T12" fmla="*/ 70 w 79"/>
                <a:gd name="T13" fmla="*/ 1 h 12"/>
                <a:gd name="T14" fmla="*/ 62 w 79"/>
                <a:gd name="T15" fmla="*/ 0 h 12"/>
                <a:gd name="T16" fmla="*/ 8 w 79"/>
                <a:gd name="T17" fmla="*/ 2 h 12"/>
                <a:gd name="T18" fmla="*/ 2 w 79"/>
                <a:gd name="T19" fmla="*/ 10 h 12"/>
                <a:gd name="T20" fmla="*/ 5 w 79"/>
                <a:gd name="T21" fmla="*/ 12 h 12"/>
                <a:gd name="T22" fmla="*/ 10 w 79"/>
                <a:gd name="T23" fmla="*/ 6 h 12"/>
                <a:gd name="T24" fmla="*/ 9 w 79"/>
                <a:gd name="T25" fmla="*/ 2 h 12"/>
                <a:gd name="T26" fmla="*/ 8 w 79"/>
                <a:gd name="T2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12">
                  <a:moveTo>
                    <a:pt x="62" y="0"/>
                  </a:moveTo>
                  <a:cubicBezTo>
                    <a:pt x="60" y="0"/>
                    <a:pt x="58" y="0"/>
                    <a:pt x="57" y="1"/>
                  </a:cubicBezTo>
                  <a:cubicBezTo>
                    <a:pt x="56" y="2"/>
                    <a:pt x="55" y="3"/>
                    <a:pt x="55" y="4"/>
                  </a:cubicBezTo>
                  <a:cubicBezTo>
                    <a:pt x="56" y="7"/>
                    <a:pt x="61" y="6"/>
                    <a:pt x="64" y="8"/>
                  </a:cubicBezTo>
                  <a:cubicBezTo>
                    <a:pt x="66" y="9"/>
                    <a:pt x="68" y="12"/>
                    <a:pt x="71" y="12"/>
                  </a:cubicBezTo>
                  <a:cubicBezTo>
                    <a:pt x="74" y="12"/>
                    <a:pt x="78" y="11"/>
                    <a:pt x="78" y="8"/>
                  </a:cubicBezTo>
                  <a:cubicBezTo>
                    <a:pt x="79" y="5"/>
                    <a:pt x="74" y="3"/>
                    <a:pt x="70" y="1"/>
                  </a:cubicBezTo>
                  <a:cubicBezTo>
                    <a:pt x="68" y="0"/>
                    <a:pt x="65" y="0"/>
                    <a:pt x="62" y="0"/>
                  </a:cubicBezTo>
                  <a:close/>
                  <a:moveTo>
                    <a:pt x="8" y="2"/>
                  </a:moveTo>
                  <a:cubicBezTo>
                    <a:pt x="5" y="2"/>
                    <a:pt x="0" y="8"/>
                    <a:pt x="2" y="10"/>
                  </a:cubicBezTo>
                  <a:cubicBezTo>
                    <a:pt x="2" y="11"/>
                    <a:pt x="4" y="12"/>
                    <a:pt x="5" y="12"/>
                  </a:cubicBezTo>
                  <a:cubicBezTo>
                    <a:pt x="7" y="11"/>
                    <a:pt x="8" y="8"/>
                    <a:pt x="10" y="6"/>
                  </a:cubicBezTo>
                  <a:cubicBezTo>
                    <a:pt x="11" y="6"/>
                    <a:pt x="11" y="3"/>
                    <a:pt x="9" y="2"/>
                  </a:cubicBezTo>
                  <a:cubicBezTo>
                    <a:pt x="9" y="2"/>
                    <a:pt x="9" y="2"/>
                    <a:pt x="8" y="2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</p:grpSp>
      <p:sp>
        <p:nvSpPr>
          <p:cNvPr id="78" name="Rectangle 77"/>
          <p:cNvSpPr/>
          <p:nvPr/>
        </p:nvSpPr>
        <p:spPr bwMode="auto">
          <a:xfrm>
            <a:off x="949174" y="1942769"/>
            <a:ext cx="2589535" cy="2062994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37121" tIns="274242" rIns="91414" bIns="137121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012">
              <a:defRPr/>
            </a:pPr>
            <a:endParaRPr lang="en-US" sz="1400" kern="0" dirty="0">
              <a:solidFill>
                <a:prstClr val="white"/>
              </a:solidFill>
              <a:latin typeface="Segoe UI Semilight"/>
            </a:endParaRPr>
          </a:p>
        </p:txBody>
      </p:sp>
      <p:sp>
        <p:nvSpPr>
          <p:cNvPr id="79" name="Freeform 130"/>
          <p:cNvSpPr>
            <a:spLocks noChangeAspect="1" noEditPoints="1"/>
          </p:cNvSpPr>
          <p:nvPr/>
        </p:nvSpPr>
        <p:spPr bwMode="black">
          <a:xfrm>
            <a:off x="1534049" y="2294689"/>
            <a:ext cx="1312907" cy="1307575"/>
          </a:xfrm>
          <a:custGeom>
            <a:avLst/>
            <a:gdLst>
              <a:gd name="T0" fmla="*/ 112 w 246"/>
              <a:gd name="T1" fmla="*/ 19 h 245"/>
              <a:gd name="T2" fmla="*/ 246 w 246"/>
              <a:gd name="T3" fmla="*/ 0 h 245"/>
              <a:gd name="T4" fmla="*/ 246 w 246"/>
              <a:gd name="T5" fmla="*/ 116 h 245"/>
              <a:gd name="T6" fmla="*/ 112 w 246"/>
              <a:gd name="T7" fmla="*/ 116 h 245"/>
              <a:gd name="T8" fmla="*/ 112 w 246"/>
              <a:gd name="T9" fmla="*/ 19 h 245"/>
              <a:gd name="T10" fmla="*/ 102 w 246"/>
              <a:gd name="T11" fmla="*/ 116 h 245"/>
              <a:gd name="T12" fmla="*/ 102 w 246"/>
              <a:gd name="T13" fmla="*/ 19 h 245"/>
              <a:gd name="T14" fmla="*/ 0 w 246"/>
              <a:gd name="T15" fmla="*/ 34 h 245"/>
              <a:gd name="T16" fmla="*/ 0 w 246"/>
              <a:gd name="T17" fmla="*/ 116 h 245"/>
              <a:gd name="T18" fmla="*/ 102 w 246"/>
              <a:gd name="T19" fmla="*/ 116 h 245"/>
              <a:gd name="T20" fmla="*/ 102 w 246"/>
              <a:gd name="T21" fmla="*/ 126 h 245"/>
              <a:gd name="T22" fmla="*/ 0 w 246"/>
              <a:gd name="T23" fmla="*/ 126 h 245"/>
              <a:gd name="T24" fmla="*/ 0 w 246"/>
              <a:gd name="T25" fmla="*/ 211 h 245"/>
              <a:gd name="T26" fmla="*/ 102 w 246"/>
              <a:gd name="T27" fmla="*/ 226 h 245"/>
              <a:gd name="T28" fmla="*/ 102 w 246"/>
              <a:gd name="T29" fmla="*/ 126 h 245"/>
              <a:gd name="T30" fmla="*/ 112 w 246"/>
              <a:gd name="T31" fmla="*/ 126 h 245"/>
              <a:gd name="T32" fmla="*/ 112 w 246"/>
              <a:gd name="T33" fmla="*/ 226 h 245"/>
              <a:gd name="T34" fmla="*/ 246 w 246"/>
              <a:gd name="T35" fmla="*/ 245 h 245"/>
              <a:gd name="T36" fmla="*/ 246 w 246"/>
              <a:gd name="T37" fmla="*/ 126 h 245"/>
              <a:gd name="T38" fmla="*/ 112 w 246"/>
              <a:gd name="T39" fmla="*/ 126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46" h="245">
                <a:moveTo>
                  <a:pt x="112" y="19"/>
                </a:moveTo>
                <a:lnTo>
                  <a:pt x="246" y="0"/>
                </a:lnTo>
                <a:lnTo>
                  <a:pt x="246" y="116"/>
                </a:lnTo>
                <a:lnTo>
                  <a:pt x="112" y="116"/>
                </a:lnTo>
                <a:lnTo>
                  <a:pt x="112" y="19"/>
                </a:lnTo>
                <a:close/>
                <a:moveTo>
                  <a:pt x="102" y="116"/>
                </a:moveTo>
                <a:lnTo>
                  <a:pt x="102" y="19"/>
                </a:lnTo>
                <a:lnTo>
                  <a:pt x="0" y="34"/>
                </a:lnTo>
                <a:lnTo>
                  <a:pt x="0" y="116"/>
                </a:lnTo>
                <a:lnTo>
                  <a:pt x="102" y="116"/>
                </a:lnTo>
                <a:close/>
                <a:moveTo>
                  <a:pt x="102" y="126"/>
                </a:moveTo>
                <a:lnTo>
                  <a:pt x="0" y="126"/>
                </a:lnTo>
                <a:lnTo>
                  <a:pt x="0" y="211"/>
                </a:lnTo>
                <a:lnTo>
                  <a:pt x="102" y="226"/>
                </a:lnTo>
                <a:lnTo>
                  <a:pt x="102" y="126"/>
                </a:lnTo>
                <a:close/>
                <a:moveTo>
                  <a:pt x="112" y="126"/>
                </a:moveTo>
                <a:lnTo>
                  <a:pt x="112" y="226"/>
                </a:lnTo>
                <a:lnTo>
                  <a:pt x="246" y="245"/>
                </a:lnTo>
                <a:lnTo>
                  <a:pt x="246" y="126"/>
                </a:lnTo>
                <a:lnTo>
                  <a:pt x="112" y="126"/>
                </a:lnTo>
                <a:close/>
              </a:path>
            </a:pathLst>
          </a:custGeom>
          <a:solidFill>
            <a:srgbClr val="002050"/>
          </a:solidFill>
          <a:ln>
            <a:noFill/>
          </a:ln>
          <a:extLst/>
        </p:spPr>
        <p:txBody>
          <a:bodyPr vert="horz" wrap="square" lIns="87867" tIns="43934" rIns="87867" bIns="43934" numCol="1" anchor="t" anchorCtr="0" compatLnSpc="1">
            <a:prstTxWarp prst="textNoShape">
              <a:avLst/>
            </a:prstTxWarp>
          </a:bodyPr>
          <a:lstStyle/>
          <a:p>
            <a:pPr defTabSz="896181">
              <a:defRPr/>
            </a:pPr>
            <a:endParaRPr lang="en-US" sz="1729" kern="0" dirty="0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80" name="Rectangle 79"/>
          <p:cNvSpPr/>
          <p:nvPr/>
        </p:nvSpPr>
        <p:spPr bwMode="auto">
          <a:xfrm>
            <a:off x="943579" y="4477956"/>
            <a:ext cx="2595130" cy="2062994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37121" tIns="274242" rIns="91414" bIns="137121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012">
              <a:defRPr/>
            </a:pPr>
            <a:endParaRPr lang="en-US" sz="1400" kern="0" dirty="0">
              <a:solidFill>
                <a:prstClr val="white"/>
              </a:solidFill>
              <a:latin typeface="Segoe UI Semilight"/>
            </a:endParaRPr>
          </a:p>
        </p:txBody>
      </p:sp>
      <p:grpSp>
        <p:nvGrpSpPr>
          <p:cNvPr id="81" name="Group 80"/>
          <p:cNvGrpSpPr/>
          <p:nvPr/>
        </p:nvGrpSpPr>
        <p:grpSpPr>
          <a:xfrm>
            <a:off x="1157475" y="4905596"/>
            <a:ext cx="2139876" cy="1189591"/>
            <a:chOff x="8115021" y="2547131"/>
            <a:chExt cx="3213140" cy="1786236"/>
          </a:xfrm>
        </p:grpSpPr>
        <p:sp>
          <p:nvSpPr>
            <p:cNvPr id="82" name="Oval 81"/>
            <p:cNvSpPr/>
            <p:nvPr/>
          </p:nvSpPr>
          <p:spPr bwMode="auto">
            <a:xfrm>
              <a:off x="9236891" y="3816713"/>
              <a:ext cx="154756" cy="147724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3" name="Freeform: Shape 82"/>
            <p:cNvSpPr/>
            <p:nvPr/>
          </p:nvSpPr>
          <p:spPr bwMode="auto">
            <a:xfrm>
              <a:off x="8722178" y="4009119"/>
              <a:ext cx="808181" cy="293233"/>
            </a:xfrm>
            <a:custGeom>
              <a:avLst/>
              <a:gdLst>
                <a:gd name="connsiteX0" fmla="*/ 439773 w 734710"/>
                <a:gd name="connsiteY0" fmla="*/ 0 h 290330"/>
                <a:gd name="connsiteX1" fmla="*/ 734710 w 734710"/>
                <a:gd name="connsiteY1" fmla="*/ 290330 h 290330"/>
                <a:gd name="connsiteX2" fmla="*/ 660976 w 734710"/>
                <a:gd name="connsiteY2" fmla="*/ 290330 h 290330"/>
                <a:gd name="connsiteX3" fmla="*/ 0 w 734710"/>
                <a:gd name="connsiteY3" fmla="*/ 31672 h 290330"/>
                <a:gd name="connsiteX4" fmla="*/ 126401 w 734710"/>
                <a:gd name="connsiteY4" fmla="*/ 34312 h 290330"/>
                <a:gd name="connsiteX5" fmla="*/ 223836 w 734710"/>
                <a:gd name="connsiteY5" fmla="*/ 31672 h 290330"/>
                <a:gd name="connsiteX6" fmla="*/ 439773 w 734710"/>
                <a:gd name="connsiteY6" fmla="*/ 0 h 290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710" h="290330">
                  <a:moveTo>
                    <a:pt x="439773" y="0"/>
                  </a:moveTo>
                  <a:cubicBezTo>
                    <a:pt x="487173" y="110853"/>
                    <a:pt x="574075" y="213788"/>
                    <a:pt x="734710" y="290330"/>
                  </a:cubicBezTo>
                  <a:cubicBezTo>
                    <a:pt x="711010" y="290330"/>
                    <a:pt x="684676" y="290330"/>
                    <a:pt x="660976" y="290330"/>
                  </a:cubicBezTo>
                  <a:cubicBezTo>
                    <a:pt x="326538" y="287690"/>
                    <a:pt x="147469" y="176837"/>
                    <a:pt x="0" y="31672"/>
                  </a:cubicBezTo>
                  <a:cubicBezTo>
                    <a:pt x="44767" y="34312"/>
                    <a:pt x="86901" y="34312"/>
                    <a:pt x="126401" y="34312"/>
                  </a:cubicBezTo>
                  <a:cubicBezTo>
                    <a:pt x="160636" y="34312"/>
                    <a:pt x="194869" y="34312"/>
                    <a:pt x="223836" y="31672"/>
                  </a:cubicBezTo>
                  <a:cubicBezTo>
                    <a:pt x="308104" y="26393"/>
                    <a:pt x="379205" y="15836"/>
                    <a:pt x="439773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4" name="Freeform: Shape 83"/>
            <p:cNvSpPr/>
            <p:nvPr/>
          </p:nvSpPr>
          <p:spPr bwMode="auto">
            <a:xfrm>
              <a:off x="9668506" y="2547131"/>
              <a:ext cx="262396" cy="262397"/>
            </a:xfrm>
            <a:custGeom>
              <a:avLst/>
              <a:gdLst>
                <a:gd name="connsiteX0" fmla="*/ 0 w 262396"/>
                <a:gd name="connsiteY0" fmla="*/ 0 h 262397"/>
                <a:gd name="connsiteX1" fmla="*/ 262396 w 262396"/>
                <a:gd name="connsiteY1" fmla="*/ 0 h 262397"/>
                <a:gd name="connsiteX2" fmla="*/ 262396 w 262396"/>
                <a:gd name="connsiteY2" fmla="*/ 262397 h 262397"/>
                <a:gd name="connsiteX3" fmla="*/ 0 w 262396"/>
                <a:gd name="connsiteY3" fmla="*/ 262397 h 262397"/>
                <a:gd name="connsiteX4" fmla="*/ 0 w 262396"/>
                <a:gd name="connsiteY4" fmla="*/ 0 h 26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396" h="262397">
                  <a:moveTo>
                    <a:pt x="0" y="0"/>
                  </a:moveTo>
                  <a:lnTo>
                    <a:pt x="262396" y="0"/>
                  </a:lnTo>
                  <a:lnTo>
                    <a:pt x="262396" y="262397"/>
                  </a:lnTo>
                  <a:lnTo>
                    <a:pt x="0" y="26239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5" name="Freeform: Shape 84"/>
            <p:cNvSpPr/>
            <p:nvPr/>
          </p:nvSpPr>
          <p:spPr bwMode="auto">
            <a:xfrm>
              <a:off x="9071552" y="2844267"/>
              <a:ext cx="262396" cy="262396"/>
            </a:xfrm>
            <a:custGeom>
              <a:avLst/>
              <a:gdLst>
                <a:gd name="connsiteX0" fmla="*/ 0 w 262396"/>
                <a:gd name="connsiteY0" fmla="*/ 0 h 262396"/>
                <a:gd name="connsiteX1" fmla="*/ 262396 w 262396"/>
                <a:gd name="connsiteY1" fmla="*/ 0 h 262396"/>
                <a:gd name="connsiteX2" fmla="*/ 262396 w 262396"/>
                <a:gd name="connsiteY2" fmla="*/ 262396 h 262396"/>
                <a:gd name="connsiteX3" fmla="*/ 0 w 262396"/>
                <a:gd name="connsiteY3" fmla="*/ 262396 h 262396"/>
                <a:gd name="connsiteX4" fmla="*/ 0 w 262396"/>
                <a:gd name="connsiteY4" fmla="*/ 0 h 26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396" h="262396">
                  <a:moveTo>
                    <a:pt x="0" y="0"/>
                  </a:moveTo>
                  <a:lnTo>
                    <a:pt x="262396" y="0"/>
                  </a:lnTo>
                  <a:lnTo>
                    <a:pt x="262396" y="262396"/>
                  </a:lnTo>
                  <a:lnTo>
                    <a:pt x="0" y="2623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6" name="Freeform: Shape 85"/>
            <p:cNvSpPr/>
            <p:nvPr/>
          </p:nvSpPr>
          <p:spPr bwMode="auto">
            <a:xfrm>
              <a:off x="9373308" y="2844267"/>
              <a:ext cx="262396" cy="262396"/>
            </a:xfrm>
            <a:custGeom>
              <a:avLst/>
              <a:gdLst>
                <a:gd name="connsiteX0" fmla="*/ 0 w 262396"/>
                <a:gd name="connsiteY0" fmla="*/ 0 h 262396"/>
                <a:gd name="connsiteX1" fmla="*/ 262396 w 262396"/>
                <a:gd name="connsiteY1" fmla="*/ 0 h 262396"/>
                <a:gd name="connsiteX2" fmla="*/ 262396 w 262396"/>
                <a:gd name="connsiteY2" fmla="*/ 262396 h 262396"/>
                <a:gd name="connsiteX3" fmla="*/ 0 w 262396"/>
                <a:gd name="connsiteY3" fmla="*/ 262396 h 262396"/>
                <a:gd name="connsiteX4" fmla="*/ 0 w 262396"/>
                <a:gd name="connsiteY4" fmla="*/ 0 h 26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396" h="262396">
                  <a:moveTo>
                    <a:pt x="0" y="0"/>
                  </a:moveTo>
                  <a:lnTo>
                    <a:pt x="262396" y="0"/>
                  </a:lnTo>
                  <a:lnTo>
                    <a:pt x="262396" y="262396"/>
                  </a:lnTo>
                  <a:lnTo>
                    <a:pt x="0" y="2623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7" name="Freeform: Shape 86"/>
            <p:cNvSpPr/>
            <p:nvPr/>
          </p:nvSpPr>
          <p:spPr bwMode="auto">
            <a:xfrm>
              <a:off x="9668506" y="2844267"/>
              <a:ext cx="262396" cy="262396"/>
            </a:xfrm>
            <a:custGeom>
              <a:avLst/>
              <a:gdLst>
                <a:gd name="connsiteX0" fmla="*/ 0 w 262396"/>
                <a:gd name="connsiteY0" fmla="*/ 0 h 262396"/>
                <a:gd name="connsiteX1" fmla="*/ 262396 w 262396"/>
                <a:gd name="connsiteY1" fmla="*/ 0 h 262396"/>
                <a:gd name="connsiteX2" fmla="*/ 262396 w 262396"/>
                <a:gd name="connsiteY2" fmla="*/ 262396 h 262396"/>
                <a:gd name="connsiteX3" fmla="*/ 0 w 262396"/>
                <a:gd name="connsiteY3" fmla="*/ 262396 h 262396"/>
                <a:gd name="connsiteX4" fmla="*/ 0 w 262396"/>
                <a:gd name="connsiteY4" fmla="*/ 0 h 26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396" h="262396">
                  <a:moveTo>
                    <a:pt x="0" y="0"/>
                  </a:moveTo>
                  <a:lnTo>
                    <a:pt x="262396" y="0"/>
                  </a:lnTo>
                  <a:lnTo>
                    <a:pt x="262396" y="262396"/>
                  </a:lnTo>
                  <a:lnTo>
                    <a:pt x="0" y="2623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8" name="Freeform: Shape 87"/>
            <p:cNvSpPr/>
            <p:nvPr/>
          </p:nvSpPr>
          <p:spPr bwMode="auto">
            <a:xfrm>
              <a:off x="8505289" y="2870508"/>
              <a:ext cx="2822872" cy="1462859"/>
            </a:xfrm>
            <a:custGeom>
              <a:avLst/>
              <a:gdLst>
                <a:gd name="connsiteX0" fmla="*/ 2280270 w 2822872"/>
                <a:gd name="connsiteY0" fmla="*/ 0 h 1462859"/>
                <a:gd name="connsiteX1" fmla="*/ 2450221 w 2822872"/>
                <a:gd name="connsiteY1" fmla="*/ 334263 h 1462859"/>
                <a:gd name="connsiteX2" fmla="*/ 2822872 w 2822872"/>
                <a:gd name="connsiteY2" fmla="*/ 337189 h 1462859"/>
                <a:gd name="connsiteX3" fmla="*/ 2397429 w 2822872"/>
                <a:gd name="connsiteY3" fmla="*/ 515950 h 1462859"/>
                <a:gd name="connsiteX4" fmla="*/ 918965 w 2822872"/>
                <a:gd name="connsiteY4" fmla="*/ 1462859 h 1462859"/>
                <a:gd name="connsiteX5" fmla="*/ 194554 w 2822872"/>
                <a:gd name="connsiteY5" fmla="*/ 1178479 h 1462859"/>
                <a:gd name="connsiteX6" fmla="*/ 194554 w 2822872"/>
                <a:gd name="connsiteY6" fmla="*/ 1175554 h 1462859"/>
                <a:gd name="connsiteX7" fmla="*/ 150231 w 2822872"/>
                <a:gd name="connsiteY7" fmla="*/ 1128596 h 1462859"/>
                <a:gd name="connsiteX8" fmla="*/ 106191 w 2822872"/>
                <a:gd name="connsiteY8" fmla="*/ 1061304 h 1462859"/>
                <a:gd name="connsiteX9" fmla="*/ 82759 w 2822872"/>
                <a:gd name="connsiteY9" fmla="*/ 1020198 h 1462859"/>
                <a:gd name="connsiteX10" fmla="*/ 3712 w 2822872"/>
                <a:gd name="connsiteY10" fmla="*/ 577537 h 1462859"/>
                <a:gd name="connsiteX11" fmla="*/ 1928227 w 2822872"/>
                <a:gd name="connsiteY11" fmla="*/ 577537 h 1462859"/>
                <a:gd name="connsiteX12" fmla="*/ 2315276 w 2822872"/>
                <a:gd name="connsiteY12" fmla="*/ 454364 h 1462859"/>
                <a:gd name="connsiteX13" fmla="*/ 2280270 w 2822872"/>
                <a:gd name="connsiteY13" fmla="*/ 0 h 1462859"/>
                <a:gd name="connsiteX14" fmla="*/ 808980 w 2822872"/>
                <a:gd name="connsiteY14" fmla="*/ 951187 h 1462859"/>
                <a:gd name="connsiteX15" fmla="*/ 736821 w 2822872"/>
                <a:gd name="connsiteY15" fmla="*/ 1020067 h 1462859"/>
                <a:gd name="connsiteX16" fmla="*/ 808980 w 2822872"/>
                <a:gd name="connsiteY16" fmla="*/ 1088947 h 1462859"/>
                <a:gd name="connsiteX17" fmla="*/ 881139 w 2822872"/>
                <a:gd name="connsiteY17" fmla="*/ 1020067 h 1462859"/>
                <a:gd name="connsiteX18" fmla="*/ 808980 w 2822872"/>
                <a:gd name="connsiteY18" fmla="*/ 951187 h 1462859"/>
                <a:gd name="connsiteX19" fmla="*/ 693397 w 2822872"/>
                <a:gd name="connsiteY19" fmla="*/ 1140062 h 1462859"/>
                <a:gd name="connsiteX20" fmla="*/ 477460 w 2822872"/>
                <a:gd name="connsiteY20" fmla="*/ 1171734 h 1462859"/>
                <a:gd name="connsiteX21" fmla="*/ 380025 w 2822872"/>
                <a:gd name="connsiteY21" fmla="*/ 1174374 h 1462859"/>
                <a:gd name="connsiteX22" fmla="*/ 253624 w 2822872"/>
                <a:gd name="connsiteY22" fmla="*/ 1171734 h 1462859"/>
                <a:gd name="connsiteX23" fmla="*/ 914600 w 2822872"/>
                <a:gd name="connsiteY23" fmla="*/ 1430392 h 1462859"/>
                <a:gd name="connsiteX24" fmla="*/ 988334 w 2822872"/>
                <a:gd name="connsiteY24" fmla="*/ 1430392 h 1462859"/>
                <a:gd name="connsiteX25" fmla="*/ 693397 w 2822872"/>
                <a:gd name="connsiteY25" fmla="*/ 1140062 h 1462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22872" h="1462859">
                  <a:moveTo>
                    <a:pt x="2280270" y="0"/>
                  </a:moveTo>
                  <a:cubicBezTo>
                    <a:pt x="2353671" y="58660"/>
                    <a:pt x="2470830" y="181687"/>
                    <a:pt x="2450221" y="334263"/>
                  </a:cubicBezTo>
                  <a:cubicBezTo>
                    <a:pt x="2541125" y="290231"/>
                    <a:pt x="2699502" y="266825"/>
                    <a:pt x="2822872" y="337189"/>
                  </a:cubicBezTo>
                  <a:cubicBezTo>
                    <a:pt x="2746648" y="489619"/>
                    <a:pt x="2576414" y="533504"/>
                    <a:pt x="2397429" y="515950"/>
                  </a:cubicBezTo>
                  <a:cubicBezTo>
                    <a:pt x="2148148" y="1169702"/>
                    <a:pt x="1584655" y="1462859"/>
                    <a:pt x="918965" y="1462859"/>
                  </a:cubicBezTo>
                  <a:cubicBezTo>
                    <a:pt x="605035" y="1462859"/>
                    <a:pt x="352931" y="1357387"/>
                    <a:pt x="194554" y="1178479"/>
                  </a:cubicBezTo>
                  <a:lnTo>
                    <a:pt x="194554" y="1175554"/>
                  </a:lnTo>
                  <a:cubicBezTo>
                    <a:pt x="187214" y="1167215"/>
                    <a:pt x="157571" y="1136495"/>
                    <a:pt x="150231" y="1128596"/>
                  </a:cubicBezTo>
                  <a:cubicBezTo>
                    <a:pt x="135834" y="1105190"/>
                    <a:pt x="121153" y="1081784"/>
                    <a:pt x="106191" y="1061304"/>
                  </a:cubicBezTo>
                  <a:cubicBezTo>
                    <a:pt x="98286" y="1047553"/>
                    <a:pt x="90664" y="1033949"/>
                    <a:pt x="82759" y="1020198"/>
                  </a:cubicBezTo>
                  <a:cubicBezTo>
                    <a:pt x="18392" y="891174"/>
                    <a:pt x="-10968" y="741670"/>
                    <a:pt x="3712" y="577537"/>
                  </a:cubicBezTo>
                  <a:lnTo>
                    <a:pt x="1928227" y="577537"/>
                  </a:lnTo>
                  <a:cubicBezTo>
                    <a:pt x="2086604" y="577537"/>
                    <a:pt x="2241875" y="518876"/>
                    <a:pt x="2315276" y="454364"/>
                  </a:cubicBezTo>
                  <a:cubicBezTo>
                    <a:pt x="2183155" y="348892"/>
                    <a:pt x="2198117" y="96694"/>
                    <a:pt x="2280270" y="0"/>
                  </a:cubicBezTo>
                  <a:close/>
                  <a:moveTo>
                    <a:pt x="808980" y="951187"/>
                  </a:moveTo>
                  <a:cubicBezTo>
                    <a:pt x="769127" y="951187"/>
                    <a:pt x="736821" y="982025"/>
                    <a:pt x="736821" y="1020067"/>
                  </a:cubicBezTo>
                  <a:cubicBezTo>
                    <a:pt x="736821" y="1058108"/>
                    <a:pt x="769127" y="1088947"/>
                    <a:pt x="808980" y="1088947"/>
                  </a:cubicBezTo>
                  <a:cubicBezTo>
                    <a:pt x="848832" y="1088947"/>
                    <a:pt x="881139" y="1058108"/>
                    <a:pt x="881139" y="1020067"/>
                  </a:cubicBezTo>
                  <a:cubicBezTo>
                    <a:pt x="881139" y="982025"/>
                    <a:pt x="848832" y="951187"/>
                    <a:pt x="808980" y="951187"/>
                  </a:cubicBezTo>
                  <a:close/>
                  <a:moveTo>
                    <a:pt x="693397" y="1140062"/>
                  </a:moveTo>
                  <a:cubicBezTo>
                    <a:pt x="632829" y="1155898"/>
                    <a:pt x="561728" y="1166455"/>
                    <a:pt x="477460" y="1171734"/>
                  </a:cubicBezTo>
                  <a:cubicBezTo>
                    <a:pt x="448493" y="1174374"/>
                    <a:pt x="414260" y="1174374"/>
                    <a:pt x="380025" y="1174374"/>
                  </a:cubicBezTo>
                  <a:cubicBezTo>
                    <a:pt x="340525" y="1174374"/>
                    <a:pt x="298391" y="1174374"/>
                    <a:pt x="253624" y="1171734"/>
                  </a:cubicBezTo>
                  <a:cubicBezTo>
                    <a:pt x="401093" y="1316899"/>
                    <a:pt x="580162" y="1427752"/>
                    <a:pt x="914600" y="1430392"/>
                  </a:cubicBezTo>
                  <a:cubicBezTo>
                    <a:pt x="938300" y="1430392"/>
                    <a:pt x="964634" y="1430392"/>
                    <a:pt x="988334" y="1430392"/>
                  </a:cubicBezTo>
                  <a:cubicBezTo>
                    <a:pt x="827699" y="1353850"/>
                    <a:pt x="740797" y="1250915"/>
                    <a:pt x="693397" y="1140062"/>
                  </a:cubicBezTo>
                  <a:close/>
                </a:path>
              </a:pathLst>
            </a:cu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9" name="Freeform: Shape 88"/>
            <p:cNvSpPr/>
            <p:nvPr/>
          </p:nvSpPr>
          <p:spPr bwMode="auto">
            <a:xfrm>
              <a:off x="8769796" y="3139460"/>
              <a:ext cx="262396" cy="262396"/>
            </a:xfrm>
            <a:custGeom>
              <a:avLst/>
              <a:gdLst>
                <a:gd name="connsiteX0" fmla="*/ 0 w 262396"/>
                <a:gd name="connsiteY0" fmla="*/ 0 h 262396"/>
                <a:gd name="connsiteX1" fmla="*/ 262396 w 262396"/>
                <a:gd name="connsiteY1" fmla="*/ 0 h 262396"/>
                <a:gd name="connsiteX2" fmla="*/ 262396 w 262396"/>
                <a:gd name="connsiteY2" fmla="*/ 262396 h 262396"/>
                <a:gd name="connsiteX3" fmla="*/ 0 w 262396"/>
                <a:gd name="connsiteY3" fmla="*/ 262396 h 262396"/>
                <a:gd name="connsiteX4" fmla="*/ 0 w 262396"/>
                <a:gd name="connsiteY4" fmla="*/ 0 h 26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396" h="262396">
                  <a:moveTo>
                    <a:pt x="0" y="0"/>
                  </a:moveTo>
                  <a:lnTo>
                    <a:pt x="262396" y="0"/>
                  </a:lnTo>
                  <a:lnTo>
                    <a:pt x="262396" y="262396"/>
                  </a:lnTo>
                  <a:lnTo>
                    <a:pt x="0" y="2623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0" name="Freeform: Shape 89"/>
            <p:cNvSpPr/>
            <p:nvPr/>
          </p:nvSpPr>
          <p:spPr bwMode="auto">
            <a:xfrm>
              <a:off x="9071552" y="3139460"/>
              <a:ext cx="262396" cy="262396"/>
            </a:xfrm>
            <a:custGeom>
              <a:avLst/>
              <a:gdLst>
                <a:gd name="connsiteX0" fmla="*/ 0 w 262396"/>
                <a:gd name="connsiteY0" fmla="*/ 0 h 262396"/>
                <a:gd name="connsiteX1" fmla="*/ 262396 w 262396"/>
                <a:gd name="connsiteY1" fmla="*/ 0 h 262396"/>
                <a:gd name="connsiteX2" fmla="*/ 262396 w 262396"/>
                <a:gd name="connsiteY2" fmla="*/ 262396 h 262396"/>
                <a:gd name="connsiteX3" fmla="*/ 0 w 262396"/>
                <a:gd name="connsiteY3" fmla="*/ 262396 h 262396"/>
                <a:gd name="connsiteX4" fmla="*/ 0 w 262396"/>
                <a:gd name="connsiteY4" fmla="*/ 0 h 26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396" h="262396">
                  <a:moveTo>
                    <a:pt x="0" y="0"/>
                  </a:moveTo>
                  <a:lnTo>
                    <a:pt x="262396" y="0"/>
                  </a:lnTo>
                  <a:lnTo>
                    <a:pt x="262396" y="262396"/>
                  </a:lnTo>
                  <a:lnTo>
                    <a:pt x="0" y="2623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1" name="Freeform: Shape 90"/>
            <p:cNvSpPr/>
            <p:nvPr/>
          </p:nvSpPr>
          <p:spPr bwMode="auto">
            <a:xfrm>
              <a:off x="9373308" y="3139460"/>
              <a:ext cx="262396" cy="262396"/>
            </a:xfrm>
            <a:custGeom>
              <a:avLst/>
              <a:gdLst>
                <a:gd name="connsiteX0" fmla="*/ 0 w 262396"/>
                <a:gd name="connsiteY0" fmla="*/ 0 h 262396"/>
                <a:gd name="connsiteX1" fmla="*/ 262396 w 262396"/>
                <a:gd name="connsiteY1" fmla="*/ 0 h 262396"/>
                <a:gd name="connsiteX2" fmla="*/ 262396 w 262396"/>
                <a:gd name="connsiteY2" fmla="*/ 262396 h 262396"/>
                <a:gd name="connsiteX3" fmla="*/ 0 w 262396"/>
                <a:gd name="connsiteY3" fmla="*/ 262396 h 262396"/>
                <a:gd name="connsiteX4" fmla="*/ 0 w 262396"/>
                <a:gd name="connsiteY4" fmla="*/ 0 h 26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396" h="262396">
                  <a:moveTo>
                    <a:pt x="0" y="0"/>
                  </a:moveTo>
                  <a:lnTo>
                    <a:pt x="262396" y="0"/>
                  </a:lnTo>
                  <a:lnTo>
                    <a:pt x="262396" y="262396"/>
                  </a:lnTo>
                  <a:lnTo>
                    <a:pt x="0" y="2623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2" name="Freeform: Shape 91"/>
            <p:cNvSpPr/>
            <p:nvPr/>
          </p:nvSpPr>
          <p:spPr bwMode="auto">
            <a:xfrm>
              <a:off x="9668506" y="3139460"/>
              <a:ext cx="262396" cy="262396"/>
            </a:xfrm>
            <a:custGeom>
              <a:avLst/>
              <a:gdLst>
                <a:gd name="connsiteX0" fmla="*/ 0 w 262396"/>
                <a:gd name="connsiteY0" fmla="*/ 0 h 262396"/>
                <a:gd name="connsiteX1" fmla="*/ 262396 w 262396"/>
                <a:gd name="connsiteY1" fmla="*/ 0 h 262396"/>
                <a:gd name="connsiteX2" fmla="*/ 262396 w 262396"/>
                <a:gd name="connsiteY2" fmla="*/ 262396 h 262396"/>
                <a:gd name="connsiteX3" fmla="*/ 0 w 262396"/>
                <a:gd name="connsiteY3" fmla="*/ 262396 h 262396"/>
                <a:gd name="connsiteX4" fmla="*/ 0 w 262396"/>
                <a:gd name="connsiteY4" fmla="*/ 0 h 26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396" h="262396">
                  <a:moveTo>
                    <a:pt x="0" y="0"/>
                  </a:moveTo>
                  <a:lnTo>
                    <a:pt x="262396" y="0"/>
                  </a:lnTo>
                  <a:lnTo>
                    <a:pt x="262396" y="262396"/>
                  </a:lnTo>
                  <a:lnTo>
                    <a:pt x="0" y="2623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3" name="Freeform: Shape 92"/>
            <p:cNvSpPr/>
            <p:nvPr/>
          </p:nvSpPr>
          <p:spPr bwMode="auto">
            <a:xfrm>
              <a:off x="9970262" y="3139460"/>
              <a:ext cx="262396" cy="262396"/>
            </a:xfrm>
            <a:custGeom>
              <a:avLst/>
              <a:gdLst>
                <a:gd name="connsiteX0" fmla="*/ 0 w 262396"/>
                <a:gd name="connsiteY0" fmla="*/ 0 h 262396"/>
                <a:gd name="connsiteX1" fmla="*/ 262396 w 262396"/>
                <a:gd name="connsiteY1" fmla="*/ 0 h 262396"/>
                <a:gd name="connsiteX2" fmla="*/ 262396 w 262396"/>
                <a:gd name="connsiteY2" fmla="*/ 262396 h 262396"/>
                <a:gd name="connsiteX3" fmla="*/ 0 w 262396"/>
                <a:gd name="connsiteY3" fmla="*/ 262396 h 262396"/>
                <a:gd name="connsiteX4" fmla="*/ 0 w 262396"/>
                <a:gd name="connsiteY4" fmla="*/ 0 h 26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396" h="262396">
                  <a:moveTo>
                    <a:pt x="0" y="0"/>
                  </a:moveTo>
                  <a:lnTo>
                    <a:pt x="262396" y="0"/>
                  </a:lnTo>
                  <a:lnTo>
                    <a:pt x="262396" y="262396"/>
                  </a:lnTo>
                  <a:lnTo>
                    <a:pt x="0" y="2623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4" name="Freeform: Shape 93"/>
            <p:cNvSpPr/>
            <p:nvPr/>
          </p:nvSpPr>
          <p:spPr bwMode="auto">
            <a:xfrm>
              <a:off x="9261792" y="3841372"/>
              <a:ext cx="104959" cy="98401"/>
            </a:xfrm>
            <a:custGeom>
              <a:avLst/>
              <a:gdLst>
                <a:gd name="connsiteX0" fmla="*/ 53979 w 104959"/>
                <a:gd name="connsiteY0" fmla="*/ 0 h 98401"/>
                <a:gd name="connsiteX1" fmla="*/ 71972 w 104959"/>
                <a:gd name="connsiteY1" fmla="*/ 2895 h 98401"/>
                <a:gd name="connsiteX2" fmla="*/ 62976 w 104959"/>
                <a:gd name="connsiteY2" fmla="*/ 20260 h 98401"/>
                <a:gd name="connsiteX3" fmla="*/ 83967 w 104959"/>
                <a:gd name="connsiteY3" fmla="*/ 40519 h 98401"/>
                <a:gd name="connsiteX4" fmla="*/ 101960 w 104959"/>
                <a:gd name="connsiteY4" fmla="*/ 28942 h 98401"/>
                <a:gd name="connsiteX5" fmla="*/ 104959 w 104959"/>
                <a:gd name="connsiteY5" fmla="*/ 49201 h 98401"/>
                <a:gd name="connsiteX6" fmla="*/ 53979 w 104959"/>
                <a:gd name="connsiteY6" fmla="*/ 98401 h 98401"/>
                <a:gd name="connsiteX7" fmla="*/ 0 w 104959"/>
                <a:gd name="connsiteY7" fmla="*/ 49201 h 98401"/>
                <a:gd name="connsiteX8" fmla="*/ 53979 w 104959"/>
                <a:gd name="connsiteY8" fmla="*/ 0 h 98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959" h="98401">
                  <a:moveTo>
                    <a:pt x="53979" y="0"/>
                  </a:moveTo>
                  <a:cubicBezTo>
                    <a:pt x="59977" y="0"/>
                    <a:pt x="65975" y="0"/>
                    <a:pt x="71972" y="2895"/>
                  </a:cubicBezTo>
                  <a:cubicBezTo>
                    <a:pt x="65975" y="5789"/>
                    <a:pt x="62976" y="11577"/>
                    <a:pt x="62976" y="20260"/>
                  </a:cubicBezTo>
                  <a:cubicBezTo>
                    <a:pt x="62976" y="31836"/>
                    <a:pt x="71972" y="40519"/>
                    <a:pt x="83967" y="40519"/>
                  </a:cubicBezTo>
                  <a:cubicBezTo>
                    <a:pt x="89965" y="40519"/>
                    <a:pt x="98961" y="37624"/>
                    <a:pt x="101960" y="28942"/>
                  </a:cubicBezTo>
                  <a:cubicBezTo>
                    <a:pt x="104959" y="34730"/>
                    <a:pt x="104959" y="43412"/>
                    <a:pt x="104959" y="49201"/>
                  </a:cubicBezTo>
                  <a:cubicBezTo>
                    <a:pt x="104959" y="78142"/>
                    <a:pt x="83967" y="98401"/>
                    <a:pt x="53979" y="98401"/>
                  </a:cubicBezTo>
                  <a:cubicBezTo>
                    <a:pt x="23991" y="98401"/>
                    <a:pt x="0" y="78142"/>
                    <a:pt x="0" y="49201"/>
                  </a:cubicBezTo>
                  <a:cubicBezTo>
                    <a:pt x="0" y="20260"/>
                    <a:pt x="23991" y="0"/>
                    <a:pt x="53979" y="0"/>
                  </a:cubicBezTo>
                  <a:close/>
                </a:path>
              </a:pathLst>
            </a:cu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6" name="Freeform 21"/>
            <p:cNvSpPr>
              <a:spLocks/>
            </p:cNvSpPr>
            <p:nvPr/>
          </p:nvSpPr>
          <p:spPr bwMode="auto">
            <a:xfrm>
              <a:off x="8115021" y="3536275"/>
              <a:ext cx="3206838" cy="134591"/>
            </a:xfrm>
            <a:custGeom>
              <a:avLst/>
              <a:gdLst>
                <a:gd name="T0" fmla="*/ 0 w 1139"/>
                <a:gd name="T1" fmla="*/ 47 h 55"/>
                <a:gd name="T2" fmla="*/ 536 w 1139"/>
                <a:gd name="T3" fmla="*/ 47 h 55"/>
                <a:gd name="T4" fmla="*/ 602 w 1139"/>
                <a:gd name="T5" fmla="*/ 47 h 55"/>
                <a:gd name="T6" fmla="*/ 1139 w 1139"/>
                <a:gd name="T7" fmla="*/ 47 h 55"/>
                <a:gd name="T8" fmla="*/ 1069 w 1139"/>
                <a:gd name="T9" fmla="*/ 0 h 55"/>
                <a:gd name="T10" fmla="*/ 888 w 1139"/>
                <a:gd name="T11" fmla="*/ 11 h 55"/>
                <a:gd name="T12" fmla="*/ 667 w 1139"/>
                <a:gd name="T13" fmla="*/ 4 h 55"/>
                <a:gd name="T14" fmla="*/ 472 w 1139"/>
                <a:gd name="T15" fmla="*/ 4 h 55"/>
                <a:gd name="T16" fmla="*/ 251 w 1139"/>
                <a:gd name="T17" fmla="*/ 11 h 55"/>
                <a:gd name="T18" fmla="*/ 69 w 1139"/>
                <a:gd name="T19" fmla="*/ 0 h 55"/>
                <a:gd name="T20" fmla="*/ 0 w 1139"/>
                <a:gd name="T21" fmla="*/ 47 h 55"/>
                <a:gd name="connsiteX0" fmla="*/ 0 w 10000"/>
                <a:gd name="connsiteY0" fmla="*/ 8545 h 8545"/>
                <a:gd name="connsiteX1" fmla="*/ 4706 w 10000"/>
                <a:gd name="connsiteY1" fmla="*/ 8545 h 8545"/>
                <a:gd name="connsiteX2" fmla="*/ 10000 w 10000"/>
                <a:gd name="connsiteY2" fmla="*/ 8545 h 8545"/>
                <a:gd name="connsiteX3" fmla="*/ 9385 w 10000"/>
                <a:gd name="connsiteY3" fmla="*/ 0 h 8545"/>
                <a:gd name="connsiteX4" fmla="*/ 7796 w 10000"/>
                <a:gd name="connsiteY4" fmla="*/ 2000 h 8545"/>
                <a:gd name="connsiteX5" fmla="*/ 5856 w 10000"/>
                <a:gd name="connsiteY5" fmla="*/ 727 h 8545"/>
                <a:gd name="connsiteX6" fmla="*/ 4144 w 10000"/>
                <a:gd name="connsiteY6" fmla="*/ 727 h 8545"/>
                <a:gd name="connsiteX7" fmla="*/ 2204 w 10000"/>
                <a:gd name="connsiteY7" fmla="*/ 2000 h 8545"/>
                <a:gd name="connsiteX8" fmla="*/ 606 w 10000"/>
                <a:gd name="connsiteY8" fmla="*/ 0 h 8545"/>
                <a:gd name="connsiteX9" fmla="*/ 0 w 10000"/>
                <a:gd name="connsiteY9" fmla="*/ 8545 h 8545"/>
                <a:gd name="connsiteX0" fmla="*/ 0 w 10000"/>
                <a:gd name="connsiteY0" fmla="*/ 10000 h 10000"/>
                <a:gd name="connsiteX1" fmla="*/ 10000 w 10000"/>
                <a:gd name="connsiteY1" fmla="*/ 10000 h 10000"/>
                <a:gd name="connsiteX2" fmla="*/ 9385 w 10000"/>
                <a:gd name="connsiteY2" fmla="*/ 0 h 10000"/>
                <a:gd name="connsiteX3" fmla="*/ 7796 w 10000"/>
                <a:gd name="connsiteY3" fmla="*/ 2341 h 10000"/>
                <a:gd name="connsiteX4" fmla="*/ 5856 w 10000"/>
                <a:gd name="connsiteY4" fmla="*/ 851 h 10000"/>
                <a:gd name="connsiteX5" fmla="*/ 4144 w 10000"/>
                <a:gd name="connsiteY5" fmla="*/ 851 h 10000"/>
                <a:gd name="connsiteX6" fmla="*/ 2204 w 10000"/>
                <a:gd name="connsiteY6" fmla="*/ 2341 h 10000"/>
                <a:gd name="connsiteX7" fmla="*/ 606 w 10000"/>
                <a:gd name="connsiteY7" fmla="*/ 0 h 10000"/>
                <a:gd name="connsiteX8" fmla="*/ 0 w 10000"/>
                <a:gd name="connsiteY8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lnTo>
                    <a:pt x="10000" y="10000"/>
                  </a:lnTo>
                  <a:cubicBezTo>
                    <a:pt x="9781" y="8724"/>
                    <a:pt x="9306" y="7022"/>
                    <a:pt x="9385" y="0"/>
                  </a:cubicBezTo>
                  <a:cubicBezTo>
                    <a:pt x="8990" y="11065"/>
                    <a:pt x="8033" y="7872"/>
                    <a:pt x="7796" y="2341"/>
                  </a:cubicBezTo>
                  <a:cubicBezTo>
                    <a:pt x="7524" y="11703"/>
                    <a:pt x="5961" y="8298"/>
                    <a:pt x="5856" y="851"/>
                  </a:cubicBezTo>
                  <a:cubicBezTo>
                    <a:pt x="5522" y="10426"/>
                    <a:pt x="4478" y="10426"/>
                    <a:pt x="4144" y="851"/>
                  </a:cubicBezTo>
                  <a:cubicBezTo>
                    <a:pt x="4030" y="8298"/>
                    <a:pt x="2467" y="11703"/>
                    <a:pt x="2204" y="2341"/>
                  </a:cubicBezTo>
                  <a:cubicBezTo>
                    <a:pt x="1958" y="7872"/>
                    <a:pt x="1010" y="11065"/>
                    <a:pt x="606" y="0"/>
                  </a:cubicBezTo>
                  <a:cubicBezTo>
                    <a:pt x="685" y="7022"/>
                    <a:pt x="219" y="8724"/>
                    <a:pt x="0" y="1000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</p:grpSp>
      <p:grpSp>
        <p:nvGrpSpPr>
          <p:cNvPr id="97" name="Group 96"/>
          <p:cNvGrpSpPr/>
          <p:nvPr/>
        </p:nvGrpSpPr>
        <p:grpSpPr>
          <a:xfrm>
            <a:off x="4722084" y="4707405"/>
            <a:ext cx="1536483" cy="715861"/>
            <a:chOff x="4986337" y="5373688"/>
            <a:chExt cx="1536701" cy="715962"/>
          </a:xfrm>
        </p:grpSpPr>
        <p:grpSp>
          <p:nvGrpSpPr>
            <p:cNvPr id="98" name="Group 97"/>
            <p:cNvGrpSpPr/>
            <p:nvPr/>
          </p:nvGrpSpPr>
          <p:grpSpPr>
            <a:xfrm>
              <a:off x="5251450" y="5762625"/>
              <a:ext cx="1271588" cy="327025"/>
              <a:chOff x="5251450" y="5762625"/>
              <a:chExt cx="1271588" cy="327025"/>
            </a:xfrm>
            <a:solidFill>
              <a:srgbClr val="FFFFFF"/>
            </a:solidFill>
          </p:grpSpPr>
          <p:sp>
            <p:nvSpPr>
              <p:cNvPr id="102" name="Freeform 28"/>
              <p:cNvSpPr>
                <a:spLocks noEditPoints="1"/>
              </p:cNvSpPr>
              <p:nvPr/>
            </p:nvSpPr>
            <p:spPr bwMode="auto">
              <a:xfrm>
                <a:off x="6475413" y="6034088"/>
                <a:ext cx="47625" cy="47625"/>
              </a:xfrm>
              <a:custGeom>
                <a:avLst/>
                <a:gdLst>
                  <a:gd name="T0" fmla="*/ 38 w 75"/>
                  <a:gd name="T1" fmla="*/ 0 h 75"/>
                  <a:gd name="T2" fmla="*/ 0 w 75"/>
                  <a:gd name="T3" fmla="*/ 38 h 75"/>
                  <a:gd name="T4" fmla="*/ 38 w 75"/>
                  <a:gd name="T5" fmla="*/ 75 h 75"/>
                  <a:gd name="T6" fmla="*/ 75 w 75"/>
                  <a:gd name="T7" fmla="*/ 37 h 75"/>
                  <a:gd name="T8" fmla="*/ 38 w 75"/>
                  <a:gd name="T9" fmla="*/ 0 h 75"/>
                  <a:gd name="T10" fmla="*/ 38 w 75"/>
                  <a:gd name="T11" fmla="*/ 67 h 75"/>
                  <a:gd name="T12" fmla="*/ 8 w 75"/>
                  <a:gd name="T13" fmla="*/ 38 h 75"/>
                  <a:gd name="T14" fmla="*/ 38 w 75"/>
                  <a:gd name="T15" fmla="*/ 8 h 75"/>
                  <a:gd name="T16" fmla="*/ 68 w 75"/>
                  <a:gd name="T17" fmla="*/ 37 h 75"/>
                  <a:gd name="T18" fmla="*/ 38 w 75"/>
                  <a:gd name="T19" fmla="*/ 6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5" h="75">
                    <a:moveTo>
                      <a:pt x="38" y="0"/>
                    </a:moveTo>
                    <a:cubicBezTo>
                      <a:pt x="17" y="0"/>
                      <a:pt x="0" y="17"/>
                      <a:pt x="0" y="38"/>
                    </a:cubicBezTo>
                    <a:cubicBezTo>
                      <a:pt x="0" y="58"/>
                      <a:pt x="17" y="75"/>
                      <a:pt x="38" y="75"/>
                    </a:cubicBezTo>
                    <a:cubicBezTo>
                      <a:pt x="59" y="75"/>
                      <a:pt x="75" y="58"/>
                      <a:pt x="75" y="37"/>
                    </a:cubicBezTo>
                    <a:cubicBezTo>
                      <a:pt x="75" y="17"/>
                      <a:pt x="59" y="0"/>
                      <a:pt x="38" y="0"/>
                    </a:cubicBezTo>
                    <a:close/>
                    <a:moveTo>
                      <a:pt x="38" y="67"/>
                    </a:moveTo>
                    <a:cubicBezTo>
                      <a:pt x="21" y="67"/>
                      <a:pt x="8" y="54"/>
                      <a:pt x="8" y="38"/>
                    </a:cubicBezTo>
                    <a:cubicBezTo>
                      <a:pt x="8" y="21"/>
                      <a:pt x="21" y="8"/>
                      <a:pt x="38" y="8"/>
                    </a:cubicBezTo>
                    <a:cubicBezTo>
                      <a:pt x="55" y="8"/>
                      <a:pt x="68" y="21"/>
                      <a:pt x="68" y="37"/>
                    </a:cubicBezTo>
                    <a:cubicBezTo>
                      <a:pt x="68" y="54"/>
                      <a:pt x="55" y="67"/>
                      <a:pt x="38" y="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3" name="Freeform 29"/>
              <p:cNvSpPr>
                <a:spLocks/>
              </p:cNvSpPr>
              <p:nvPr/>
            </p:nvSpPr>
            <p:spPr bwMode="auto">
              <a:xfrm>
                <a:off x="5251450" y="5762625"/>
                <a:ext cx="290513" cy="319088"/>
              </a:xfrm>
              <a:custGeom>
                <a:avLst/>
                <a:gdLst>
                  <a:gd name="T0" fmla="*/ 324 w 452"/>
                  <a:gd name="T1" fmla="*/ 208 h 495"/>
                  <a:gd name="T2" fmla="*/ 154 w 452"/>
                  <a:gd name="T3" fmla="*/ 183 h 495"/>
                  <a:gd name="T4" fmla="*/ 110 w 452"/>
                  <a:gd name="T5" fmla="*/ 141 h 495"/>
                  <a:gd name="T6" fmla="*/ 147 w 452"/>
                  <a:gd name="T7" fmla="*/ 103 h 495"/>
                  <a:gd name="T8" fmla="*/ 424 w 452"/>
                  <a:gd name="T9" fmla="*/ 103 h 495"/>
                  <a:gd name="T10" fmla="*/ 424 w 452"/>
                  <a:gd name="T11" fmla="*/ 0 h 495"/>
                  <a:gd name="T12" fmla="*/ 148 w 452"/>
                  <a:gd name="T13" fmla="*/ 0 h 495"/>
                  <a:gd name="T14" fmla="*/ 0 w 452"/>
                  <a:gd name="T15" fmla="*/ 141 h 495"/>
                  <a:gd name="T16" fmla="*/ 128 w 452"/>
                  <a:gd name="T17" fmla="*/ 286 h 495"/>
                  <a:gd name="T18" fmla="*/ 298 w 452"/>
                  <a:gd name="T19" fmla="*/ 311 h 495"/>
                  <a:gd name="T20" fmla="*/ 343 w 452"/>
                  <a:gd name="T21" fmla="*/ 354 h 495"/>
                  <a:gd name="T22" fmla="*/ 305 w 452"/>
                  <a:gd name="T23" fmla="*/ 391 h 495"/>
                  <a:gd name="T24" fmla="*/ 103 w 452"/>
                  <a:gd name="T25" fmla="*/ 391 h 495"/>
                  <a:gd name="T26" fmla="*/ 103 w 452"/>
                  <a:gd name="T27" fmla="*/ 391 h 495"/>
                  <a:gd name="T28" fmla="*/ 19 w 452"/>
                  <a:gd name="T29" fmla="*/ 485 h 495"/>
                  <a:gd name="T30" fmla="*/ 19 w 452"/>
                  <a:gd name="T31" fmla="*/ 495 h 495"/>
                  <a:gd name="T32" fmla="*/ 305 w 452"/>
                  <a:gd name="T33" fmla="*/ 495 h 495"/>
                  <a:gd name="T34" fmla="*/ 452 w 452"/>
                  <a:gd name="T35" fmla="*/ 354 h 495"/>
                  <a:gd name="T36" fmla="*/ 324 w 452"/>
                  <a:gd name="T37" fmla="*/ 208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2" h="495">
                    <a:moveTo>
                      <a:pt x="324" y="208"/>
                    </a:moveTo>
                    <a:cubicBezTo>
                      <a:pt x="323" y="208"/>
                      <a:pt x="156" y="184"/>
                      <a:pt x="154" y="183"/>
                    </a:cubicBezTo>
                    <a:cubicBezTo>
                      <a:pt x="125" y="179"/>
                      <a:pt x="110" y="164"/>
                      <a:pt x="110" y="141"/>
                    </a:cubicBezTo>
                    <a:cubicBezTo>
                      <a:pt x="110" y="117"/>
                      <a:pt x="130" y="103"/>
                      <a:pt x="147" y="103"/>
                    </a:cubicBezTo>
                    <a:cubicBezTo>
                      <a:pt x="424" y="103"/>
                      <a:pt x="424" y="103"/>
                      <a:pt x="424" y="103"/>
                    </a:cubicBezTo>
                    <a:cubicBezTo>
                      <a:pt x="424" y="0"/>
                      <a:pt x="424" y="0"/>
                      <a:pt x="424" y="0"/>
                    </a:cubicBezTo>
                    <a:cubicBezTo>
                      <a:pt x="424" y="0"/>
                      <a:pt x="151" y="0"/>
                      <a:pt x="148" y="0"/>
                    </a:cubicBezTo>
                    <a:cubicBezTo>
                      <a:pt x="60" y="0"/>
                      <a:pt x="0" y="66"/>
                      <a:pt x="0" y="141"/>
                    </a:cubicBezTo>
                    <a:cubicBezTo>
                      <a:pt x="0" y="205"/>
                      <a:pt x="39" y="272"/>
                      <a:pt x="128" y="286"/>
                    </a:cubicBezTo>
                    <a:cubicBezTo>
                      <a:pt x="129" y="286"/>
                      <a:pt x="297" y="311"/>
                      <a:pt x="298" y="311"/>
                    </a:cubicBezTo>
                    <a:cubicBezTo>
                      <a:pt x="328" y="316"/>
                      <a:pt x="343" y="330"/>
                      <a:pt x="343" y="354"/>
                    </a:cubicBezTo>
                    <a:cubicBezTo>
                      <a:pt x="343" y="378"/>
                      <a:pt x="322" y="391"/>
                      <a:pt x="305" y="391"/>
                    </a:cubicBezTo>
                    <a:cubicBezTo>
                      <a:pt x="103" y="391"/>
                      <a:pt x="103" y="391"/>
                      <a:pt x="103" y="391"/>
                    </a:cubicBezTo>
                    <a:cubicBezTo>
                      <a:pt x="103" y="391"/>
                      <a:pt x="103" y="391"/>
                      <a:pt x="103" y="391"/>
                    </a:cubicBezTo>
                    <a:cubicBezTo>
                      <a:pt x="62" y="393"/>
                      <a:pt x="19" y="424"/>
                      <a:pt x="19" y="485"/>
                    </a:cubicBezTo>
                    <a:cubicBezTo>
                      <a:pt x="19" y="488"/>
                      <a:pt x="19" y="491"/>
                      <a:pt x="19" y="495"/>
                    </a:cubicBezTo>
                    <a:cubicBezTo>
                      <a:pt x="19" y="495"/>
                      <a:pt x="303" y="495"/>
                      <a:pt x="305" y="495"/>
                    </a:cubicBezTo>
                    <a:cubicBezTo>
                      <a:pt x="392" y="495"/>
                      <a:pt x="452" y="428"/>
                      <a:pt x="452" y="354"/>
                    </a:cubicBezTo>
                    <a:cubicBezTo>
                      <a:pt x="452" y="289"/>
                      <a:pt x="413" y="222"/>
                      <a:pt x="324" y="20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4" name="Freeform 30"/>
              <p:cNvSpPr>
                <a:spLocks/>
              </p:cNvSpPr>
              <p:nvPr/>
            </p:nvSpPr>
            <p:spPr bwMode="auto">
              <a:xfrm>
                <a:off x="6170613" y="5762625"/>
                <a:ext cx="287338" cy="319088"/>
              </a:xfrm>
              <a:custGeom>
                <a:avLst/>
                <a:gdLst>
                  <a:gd name="T0" fmla="*/ 0 w 447"/>
                  <a:gd name="T1" fmla="*/ 141 h 495"/>
                  <a:gd name="T2" fmla="*/ 0 w 447"/>
                  <a:gd name="T3" fmla="*/ 354 h 495"/>
                  <a:gd name="T4" fmla="*/ 148 w 447"/>
                  <a:gd name="T5" fmla="*/ 495 h 495"/>
                  <a:gd name="T6" fmla="*/ 447 w 447"/>
                  <a:gd name="T7" fmla="*/ 495 h 495"/>
                  <a:gd name="T8" fmla="*/ 447 w 447"/>
                  <a:gd name="T9" fmla="*/ 485 h 495"/>
                  <a:gd name="T10" fmla="*/ 363 w 447"/>
                  <a:gd name="T11" fmla="*/ 391 h 495"/>
                  <a:gd name="T12" fmla="*/ 363 w 447"/>
                  <a:gd name="T13" fmla="*/ 391 h 495"/>
                  <a:gd name="T14" fmla="*/ 147 w 447"/>
                  <a:gd name="T15" fmla="*/ 391 h 495"/>
                  <a:gd name="T16" fmla="*/ 110 w 447"/>
                  <a:gd name="T17" fmla="*/ 354 h 495"/>
                  <a:gd name="T18" fmla="*/ 154 w 447"/>
                  <a:gd name="T19" fmla="*/ 311 h 495"/>
                  <a:gd name="T20" fmla="*/ 247 w 447"/>
                  <a:gd name="T21" fmla="*/ 311 h 495"/>
                  <a:gd name="T22" fmla="*/ 392 w 447"/>
                  <a:gd name="T23" fmla="*/ 203 h 495"/>
                  <a:gd name="T24" fmla="*/ 167 w 447"/>
                  <a:gd name="T25" fmla="*/ 203 h 495"/>
                  <a:gd name="T26" fmla="*/ 110 w 447"/>
                  <a:gd name="T27" fmla="*/ 235 h 495"/>
                  <a:gd name="T28" fmla="*/ 110 w 447"/>
                  <a:gd name="T29" fmla="*/ 141 h 495"/>
                  <a:gd name="T30" fmla="*/ 147 w 447"/>
                  <a:gd name="T31" fmla="*/ 103 h 495"/>
                  <a:gd name="T32" fmla="*/ 363 w 447"/>
                  <a:gd name="T33" fmla="*/ 103 h 495"/>
                  <a:gd name="T34" fmla="*/ 447 w 447"/>
                  <a:gd name="T35" fmla="*/ 9 h 495"/>
                  <a:gd name="T36" fmla="*/ 447 w 447"/>
                  <a:gd name="T37" fmla="*/ 0 h 495"/>
                  <a:gd name="T38" fmla="*/ 148 w 447"/>
                  <a:gd name="T39" fmla="*/ 0 h 495"/>
                  <a:gd name="T40" fmla="*/ 0 w 447"/>
                  <a:gd name="T41" fmla="*/ 141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47" h="495">
                    <a:moveTo>
                      <a:pt x="0" y="141"/>
                    </a:moveTo>
                    <a:cubicBezTo>
                      <a:pt x="0" y="141"/>
                      <a:pt x="0" y="353"/>
                      <a:pt x="0" y="354"/>
                    </a:cubicBezTo>
                    <a:cubicBezTo>
                      <a:pt x="0" y="428"/>
                      <a:pt x="60" y="495"/>
                      <a:pt x="148" y="495"/>
                    </a:cubicBezTo>
                    <a:cubicBezTo>
                      <a:pt x="150" y="495"/>
                      <a:pt x="447" y="495"/>
                      <a:pt x="447" y="495"/>
                    </a:cubicBezTo>
                    <a:cubicBezTo>
                      <a:pt x="447" y="491"/>
                      <a:pt x="447" y="488"/>
                      <a:pt x="447" y="485"/>
                    </a:cubicBezTo>
                    <a:cubicBezTo>
                      <a:pt x="447" y="424"/>
                      <a:pt x="404" y="393"/>
                      <a:pt x="363" y="391"/>
                    </a:cubicBezTo>
                    <a:cubicBezTo>
                      <a:pt x="363" y="391"/>
                      <a:pt x="363" y="391"/>
                      <a:pt x="363" y="391"/>
                    </a:cubicBezTo>
                    <a:cubicBezTo>
                      <a:pt x="147" y="391"/>
                      <a:pt x="147" y="391"/>
                      <a:pt x="147" y="391"/>
                    </a:cubicBezTo>
                    <a:cubicBezTo>
                      <a:pt x="130" y="391"/>
                      <a:pt x="110" y="378"/>
                      <a:pt x="110" y="354"/>
                    </a:cubicBezTo>
                    <a:cubicBezTo>
                      <a:pt x="110" y="330"/>
                      <a:pt x="125" y="311"/>
                      <a:pt x="154" y="311"/>
                    </a:cubicBezTo>
                    <a:cubicBezTo>
                      <a:pt x="182" y="311"/>
                      <a:pt x="246" y="311"/>
                      <a:pt x="247" y="311"/>
                    </a:cubicBezTo>
                    <a:cubicBezTo>
                      <a:pt x="329" y="310"/>
                      <a:pt x="377" y="260"/>
                      <a:pt x="392" y="203"/>
                    </a:cubicBezTo>
                    <a:cubicBezTo>
                      <a:pt x="167" y="203"/>
                      <a:pt x="167" y="203"/>
                      <a:pt x="167" y="203"/>
                    </a:cubicBezTo>
                    <a:cubicBezTo>
                      <a:pt x="127" y="203"/>
                      <a:pt x="110" y="235"/>
                      <a:pt x="110" y="235"/>
                    </a:cubicBezTo>
                    <a:cubicBezTo>
                      <a:pt x="110" y="141"/>
                      <a:pt x="110" y="141"/>
                      <a:pt x="110" y="141"/>
                    </a:cubicBezTo>
                    <a:cubicBezTo>
                      <a:pt x="110" y="117"/>
                      <a:pt x="130" y="103"/>
                      <a:pt x="147" y="103"/>
                    </a:cubicBezTo>
                    <a:cubicBezTo>
                      <a:pt x="363" y="103"/>
                      <a:pt x="363" y="103"/>
                      <a:pt x="363" y="103"/>
                    </a:cubicBezTo>
                    <a:cubicBezTo>
                      <a:pt x="404" y="102"/>
                      <a:pt x="447" y="71"/>
                      <a:pt x="447" y="9"/>
                    </a:cubicBezTo>
                    <a:cubicBezTo>
                      <a:pt x="447" y="6"/>
                      <a:pt x="447" y="3"/>
                      <a:pt x="447" y="0"/>
                    </a:cubicBezTo>
                    <a:cubicBezTo>
                      <a:pt x="148" y="0"/>
                      <a:pt x="148" y="0"/>
                      <a:pt x="148" y="0"/>
                    </a:cubicBezTo>
                    <a:cubicBezTo>
                      <a:pt x="60" y="0"/>
                      <a:pt x="0" y="66"/>
                      <a:pt x="0" y="1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5" name="Freeform 31"/>
              <p:cNvSpPr>
                <a:spLocks noEditPoints="1"/>
              </p:cNvSpPr>
              <p:nvPr/>
            </p:nvSpPr>
            <p:spPr bwMode="auto">
              <a:xfrm>
                <a:off x="6491288" y="6045200"/>
                <a:ext cx="19050" cy="23813"/>
              </a:xfrm>
              <a:custGeom>
                <a:avLst/>
                <a:gdLst>
                  <a:gd name="T0" fmla="*/ 30 w 31"/>
                  <a:gd name="T1" fmla="*/ 12 h 35"/>
                  <a:gd name="T2" fmla="*/ 16 w 31"/>
                  <a:gd name="T3" fmla="*/ 0 h 35"/>
                  <a:gd name="T4" fmla="*/ 0 w 31"/>
                  <a:gd name="T5" fmla="*/ 0 h 35"/>
                  <a:gd name="T6" fmla="*/ 0 w 31"/>
                  <a:gd name="T7" fmla="*/ 35 h 35"/>
                  <a:gd name="T8" fmla="*/ 8 w 31"/>
                  <a:gd name="T9" fmla="*/ 35 h 35"/>
                  <a:gd name="T10" fmla="*/ 8 w 31"/>
                  <a:gd name="T11" fmla="*/ 24 h 35"/>
                  <a:gd name="T12" fmla="*/ 14 w 31"/>
                  <a:gd name="T13" fmla="*/ 24 h 35"/>
                  <a:gd name="T14" fmla="*/ 22 w 31"/>
                  <a:gd name="T15" fmla="*/ 35 h 35"/>
                  <a:gd name="T16" fmla="*/ 31 w 31"/>
                  <a:gd name="T17" fmla="*/ 35 h 35"/>
                  <a:gd name="T18" fmla="*/ 22 w 31"/>
                  <a:gd name="T19" fmla="*/ 23 h 35"/>
                  <a:gd name="T20" fmla="*/ 30 w 31"/>
                  <a:gd name="T21" fmla="*/ 12 h 35"/>
                  <a:gd name="T22" fmla="*/ 16 w 31"/>
                  <a:gd name="T23" fmla="*/ 17 h 35"/>
                  <a:gd name="T24" fmla="*/ 8 w 31"/>
                  <a:gd name="T25" fmla="*/ 17 h 35"/>
                  <a:gd name="T26" fmla="*/ 8 w 31"/>
                  <a:gd name="T27" fmla="*/ 7 h 35"/>
                  <a:gd name="T28" fmla="*/ 16 w 31"/>
                  <a:gd name="T29" fmla="*/ 7 h 35"/>
                  <a:gd name="T30" fmla="*/ 22 w 31"/>
                  <a:gd name="T31" fmla="*/ 12 h 35"/>
                  <a:gd name="T32" fmla="*/ 16 w 31"/>
                  <a:gd name="T33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1" h="35">
                    <a:moveTo>
                      <a:pt x="30" y="12"/>
                    </a:moveTo>
                    <a:cubicBezTo>
                      <a:pt x="30" y="4"/>
                      <a:pt x="24" y="0"/>
                      <a:pt x="1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8" y="35"/>
                      <a:pt x="8" y="35"/>
                      <a:pt x="8" y="35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22" y="35"/>
                      <a:pt x="22" y="35"/>
                      <a:pt x="22" y="35"/>
                    </a:cubicBezTo>
                    <a:cubicBezTo>
                      <a:pt x="31" y="35"/>
                      <a:pt x="31" y="35"/>
                      <a:pt x="31" y="35"/>
                    </a:cubicBezTo>
                    <a:cubicBezTo>
                      <a:pt x="22" y="23"/>
                      <a:pt x="22" y="23"/>
                      <a:pt x="22" y="23"/>
                    </a:cubicBezTo>
                    <a:cubicBezTo>
                      <a:pt x="27" y="21"/>
                      <a:pt x="30" y="17"/>
                      <a:pt x="30" y="12"/>
                    </a:cubicBezTo>
                    <a:close/>
                    <a:moveTo>
                      <a:pt x="16" y="17"/>
                    </a:moveTo>
                    <a:cubicBezTo>
                      <a:pt x="8" y="17"/>
                      <a:pt x="8" y="17"/>
                      <a:pt x="8" y="17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9" y="7"/>
                      <a:pt x="22" y="9"/>
                      <a:pt x="22" y="12"/>
                    </a:cubicBezTo>
                    <a:cubicBezTo>
                      <a:pt x="22" y="15"/>
                      <a:pt x="20" y="17"/>
                      <a:pt x="16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6" name="Freeform 32"/>
              <p:cNvSpPr>
                <a:spLocks/>
              </p:cNvSpPr>
              <p:nvPr/>
            </p:nvSpPr>
            <p:spPr bwMode="auto">
              <a:xfrm>
                <a:off x="5861050" y="5762625"/>
                <a:ext cx="290513" cy="319088"/>
              </a:xfrm>
              <a:custGeom>
                <a:avLst/>
                <a:gdLst>
                  <a:gd name="T0" fmla="*/ 325 w 453"/>
                  <a:gd name="T1" fmla="*/ 208 h 495"/>
                  <a:gd name="T2" fmla="*/ 154 w 453"/>
                  <a:gd name="T3" fmla="*/ 183 h 495"/>
                  <a:gd name="T4" fmla="*/ 110 w 453"/>
                  <a:gd name="T5" fmla="*/ 141 h 495"/>
                  <a:gd name="T6" fmla="*/ 148 w 453"/>
                  <a:gd name="T7" fmla="*/ 103 h 495"/>
                  <a:gd name="T8" fmla="*/ 424 w 453"/>
                  <a:gd name="T9" fmla="*/ 103 h 495"/>
                  <a:gd name="T10" fmla="*/ 424 w 453"/>
                  <a:gd name="T11" fmla="*/ 0 h 495"/>
                  <a:gd name="T12" fmla="*/ 148 w 453"/>
                  <a:gd name="T13" fmla="*/ 0 h 495"/>
                  <a:gd name="T14" fmla="*/ 0 w 453"/>
                  <a:gd name="T15" fmla="*/ 141 h 495"/>
                  <a:gd name="T16" fmla="*/ 128 w 453"/>
                  <a:gd name="T17" fmla="*/ 286 h 495"/>
                  <a:gd name="T18" fmla="*/ 299 w 453"/>
                  <a:gd name="T19" fmla="*/ 311 h 495"/>
                  <a:gd name="T20" fmla="*/ 343 w 453"/>
                  <a:gd name="T21" fmla="*/ 354 h 495"/>
                  <a:gd name="T22" fmla="*/ 305 w 453"/>
                  <a:gd name="T23" fmla="*/ 391 h 495"/>
                  <a:gd name="T24" fmla="*/ 29 w 453"/>
                  <a:gd name="T25" fmla="*/ 391 h 495"/>
                  <a:gd name="T26" fmla="*/ 29 w 453"/>
                  <a:gd name="T27" fmla="*/ 495 h 495"/>
                  <a:gd name="T28" fmla="*/ 305 w 453"/>
                  <a:gd name="T29" fmla="*/ 495 h 495"/>
                  <a:gd name="T30" fmla="*/ 453 w 453"/>
                  <a:gd name="T31" fmla="*/ 354 h 495"/>
                  <a:gd name="T32" fmla="*/ 325 w 453"/>
                  <a:gd name="T33" fmla="*/ 208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53" h="495">
                    <a:moveTo>
                      <a:pt x="325" y="208"/>
                    </a:moveTo>
                    <a:cubicBezTo>
                      <a:pt x="323" y="208"/>
                      <a:pt x="156" y="184"/>
                      <a:pt x="154" y="183"/>
                    </a:cubicBezTo>
                    <a:cubicBezTo>
                      <a:pt x="125" y="179"/>
                      <a:pt x="110" y="164"/>
                      <a:pt x="110" y="141"/>
                    </a:cubicBezTo>
                    <a:cubicBezTo>
                      <a:pt x="110" y="117"/>
                      <a:pt x="131" y="103"/>
                      <a:pt x="148" y="103"/>
                    </a:cubicBezTo>
                    <a:cubicBezTo>
                      <a:pt x="424" y="103"/>
                      <a:pt x="424" y="103"/>
                      <a:pt x="424" y="103"/>
                    </a:cubicBezTo>
                    <a:cubicBezTo>
                      <a:pt x="424" y="0"/>
                      <a:pt x="424" y="0"/>
                      <a:pt x="424" y="0"/>
                    </a:cubicBezTo>
                    <a:cubicBezTo>
                      <a:pt x="424" y="0"/>
                      <a:pt x="151" y="0"/>
                      <a:pt x="148" y="0"/>
                    </a:cubicBezTo>
                    <a:cubicBezTo>
                      <a:pt x="61" y="0"/>
                      <a:pt x="0" y="66"/>
                      <a:pt x="0" y="141"/>
                    </a:cubicBezTo>
                    <a:cubicBezTo>
                      <a:pt x="0" y="205"/>
                      <a:pt x="39" y="272"/>
                      <a:pt x="128" y="286"/>
                    </a:cubicBezTo>
                    <a:cubicBezTo>
                      <a:pt x="130" y="286"/>
                      <a:pt x="297" y="311"/>
                      <a:pt x="299" y="311"/>
                    </a:cubicBezTo>
                    <a:cubicBezTo>
                      <a:pt x="328" y="316"/>
                      <a:pt x="343" y="330"/>
                      <a:pt x="343" y="354"/>
                    </a:cubicBezTo>
                    <a:cubicBezTo>
                      <a:pt x="343" y="378"/>
                      <a:pt x="322" y="391"/>
                      <a:pt x="305" y="391"/>
                    </a:cubicBezTo>
                    <a:cubicBezTo>
                      <a:pt x="29" y="391"/>
                      <a:pt x="29" y="391"/>
                      <a:pt x="29" y="391"/>
                    </a:cubicBezTo>
                    <a:cubicBezTo>
                      <a:pt x="29" y="495"/>
                      <a:pt x="29" y="495"/>
                      <a:pt x="29" y="495"/>
                    </a:cubicBezTo>
                    <a:cubicBezTo>
                      <a:pt x="29" y="495"/>
                      <a:pt x="302" y="495"/>
                      <a:pt x="305" y="495"/>
                    </a:cubicBezTo>
                    <a:cubicBezTo>
                      <a:pt x="392" y="495"/>
                      <a:pt x="453" y="428"/>
                      <a:pt x="453" y="354"/>
                    </a:cubicBezTo>
                    <a:cubicBezTo>
                      <a:pt x="453" y="289"/>
                      <a:pt x="414" y="222"/>
                      <a:pt x="325" y="20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7" name="Freeform 33"/>
              <p:cNvSpPr>
                <a:spLocks/>
              </p:cNvSpPr>
              <p:nvPr/>
            </p:nvSpPr>
            <p:spPr bwMode="auto">
              <a:xfrm>
                <a:off x="5559425" y="5762625"/>
                <a:ext cx="280988" cy="327025"/>
              </a:xfrm>
              <a:custGeom>
                <a:avLst/>
                <a:gdLst>
                  <a:gd name="T0" fmla="*/ 330 w 437"/>
                  <a:gd name="T1" fmla="*/ 294 h 506"/>
                  <a:gd name="T2" fmla="*/ 219 w 437"/>
                  <a:gd name="T3" fmla="*/ 405 h 506"/>
                  <a:gd name="T4" fmla="*/ 107 w 437"/>
                  <a:gd name="T5" fmla="*/ 294 h 506"/>
                  <a:gd name="T6" fmla="*/ 107 w 437"/>
                  <a:gd name="T7" fmla="*/ 0 h 506"/>
                  <a:gd name="T8" fmla="*/ 0 w 437"/>
                  <a:gd name="T9" fmla="*/ 0 h 506"/>
                  <a:gd name="T10" fmla="*/ 0 w 437"/>
                  <a:gd name="T11" fmla="*/ 288 h 506"/>
                  <a:gd name="T12" fmla="*/ 219 w 437"/>
                  <a:gd name="T13" fmla="*/ 506 h 506"/>
                  <a:gd name="T14" fmla="*/ 437 w 437"/>
                  <a:gd name="T15" fmla="*/ 288 h 506"/>
                  <a:gd name="T16" fmla="*/ 437 w 437"/>
                  <a:gd name="T17" fmla="*/ 0 h 506"/>
                  <a:gd name="T18" fmla="*/ 330 w 437"/>
                  <a:gd name="T19" fmla="*/ 0 h 506"/>
                  <a:gd name="T20" fmla="*/ 330 w 437"/>
                  <a:gd name="T21" fmla="*/ 294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7" h="506">
                    <a:moveTo>
                      <a:pt x="330" y="294"/>
                    </a:moveTo>
                    <a:cubicBezTo>
                      <a:pt x="330" y="355"/>
                      <a:pt x="280" y="405"/>
                      <a:pt x="219" y="405"/>
                    </a:cubicBezTo>
                    <a:cubicBezTo>
                      <a:pt x="157" y="405"/>
                      <a:pt x="107" y="355"/>
                      <a:pt x="107" y="294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88"/>
                      <a:pt x="0" y="288"/>
                      <a:pt x="0" y="288"/>
                    </a:cubicBezTo>
                    <a:cubicBezTo>
                      <a:pt x="0" y="408"/>
                      <a:pt x="98" y="506"/>
                      <a:pt x="219" y="506"/>
                    </a:cubicBezTo>
                    <a:cubicBezTo>
                      <a:pt x="339" y="506"/>
                      <a:pt x="437" y="408"/>
                      <a:pt x="437" y="288"/>
                    </a:cubicBezTo>
                    <a:cubicBezTo>
                      <a:pt x="437" y="0"/>
                      <a:pt x="437" y="0"/>
                      <a:pt x="437" y="0"/>
                    </a:cubicBezTo>
                    <a:cubicBezTo>
                      <a:pt x="330" y="0"/>
                      <a:pt x="330" y="0"/>
                      <a:pt x="330" y="0"/>
                    </a:cubicBezTo>
                    <a:lnTo>
                      <a:pt x="330" y="2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  <p:grpSp>
          <p:nvGrpSpPr>
            <p:cNvPr id="99" name="Group 98"/>
            <p:cNvGrpSpPr/>
            <p:nvPr/>
          </p:nvGrpSpPr>
          <p:grpSpPr>
            <a:xfrm>
              <a:off x="4986337" y="5373688"/>
              <a:ext cx="881063" cy="452438"/>
              <a:chOff x="4986337" y="5373688"/>
              <a:chExt cx="881063" cy="452438"/>
            </a:xfrm>
            <a:solidFill>
              <a:srgbClr val="FFFFFF"/>
            </a:solidFill>
          </p:grpSpPr>
          <p:sp>
            <p:nvSpPr>
              <p:cNvPr id="100" name="Freeform 34"/>
              <p:cNvSpPr>
                <a:spLocks noEditPoints="1"/>
              </p:cNvSpPr>
              <p:nvPr/>
            </p:nvSpPr>
            <p:spPr bwMode="auto">
              <a:xfrm>
                <a:off x="5737225" y="5453063"/>
                <a:ext cx="73025" cy="73025"/>
              </a:xfrm>
              <a:custGeom>
                <a:avLst/>
                <a:gdLst>
                  <a:gd name="T0" fmla="*/ 55 w 114"/>
                  <a:gd name="T1" fmla="*/ 114 h 114"/>
                  <a:gd name="T2" fmla="*/ 96 w 114"/>
                  <a:gd name="T3" fmla="*/ 99 h 114"/>
                  <a:gd name="T4" fmla="*/ 114 w 114"/>
                  <a:gd name="T5" fmla="*/ 59 h 114"/>
                  <a:gd name="T6" fmla="*/ 59 w 114"/>
                  <a:gd name="T7" fmla="*/ 1 h 114"/>
                  <a:gd name="T8" fmla="*/ 19 w 114"/>
                  <a:gd name="T9" fmla="*/ 16 h 114"/>
                  <a:gd name="T10" fmla="*/ 1 w 114"/>
                  <a:gd name="T11" fmla="*/ 55 h 114"/>
                  <a:gd name="T12" fmla="*/ 55 w 114"/>
                  <a:gd name="T13" fmla="*/ 114 h 114"/>
                  <a:gd name="T14" fmla="*/ 68 w 114"/>
                  <a:gd name="T15" fmla="*/ 29 h 114"/>
                  <a:gd name="T16" fmla="*/ 93 w 114"/>
                  <a:gd name="T17" fmla="*/ 46 h 114"/>
                  <a:gd name="T18" fmla="*/ 68 w 114"/>
                  <a:gd name="T19" fmla="*/ 63 h 114"/>
                  <a:gd name="T20" fmla="*/ 43 w 114"/>
                  <a:gd name="T21" fmla="*/ 46 h 114"/>
                  <a:gd name="T22" fmla="*/ 68 w 114"/>
                  <a:gd name="T23" fmla="*/ 29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4" h="114">
                    <a:moveTo>
                      <a:pt x="55" y="114"/>
                    </a:moveTo>
                    <a:cubicBezTo>
                      <a:pt x="70" y="114"/>
                      <a:pt x="85" y="109"/>
                      <a:pt x="96" y="99"/>
                    </a:cubicBezTo>
                    <a:cubicBezTo>
                      <a:pt x="107" y="88"/>
                      <a:pt x="113" y="74"/>
                      <a:pt x="114" y="59"/>
                    </a:cubicBezTo>
                    <a:cubicBezTo>
                      <a:pt x="114" y="28"/>
                      <a:pt x="90" y="2"/>
                      <a:pt x="59" y="1"/>
                    </a:cubicBezTo>
                    <a:cubicBezTo>
                      <a:pt x="44" y="0"/>
                      <a:pt x="30" y="6"/>
                      <a:pt x="19" y="16"/>
                    </a:cubicBezTo>
                    <a:cubicBezTo>
                      <a:pt x="8" y="26"/>
                      <a:pt x="1" y="40"/>
                      <a:pt x="1" y="55"/>
                    </a:cubicBezTo>
                    <a:cubicBezTo>
                      <a:pt x="0" y="86"/>
                      <a:pt x="24" y="113"/>
                      <a:pt x="55" y="114"/>
                    </a:cubicBezTo>
                    <a:close/>
                    <a:moveTo>
                      <a:pt x="68" y="29"/>
                    </a:moveTo>
                    <a:cubicBezTo>
                      <a:pt x="82" y="29"/>
                      <a:pt x="93" y="37"/>
                      <a:pt x="93" y="46"/>
                    </a:cubicBezTo>
                    <a:cubicBezTo>
                      <a:pt x="93" y="55"/>
                      <a:pt x="82" y="63"/>
                      <a:pt x="68" y="63"/>
                    </a:cubicBezTo>
                    <a:cubicBezTo>
                      <a:pt x="54" y="63"/>
                      <a:pt x="43" y="55"/>
                      <a:pt x="43" y="46"/>
                    </a:cubicBezTo>
                    <a:cubicBezTo>
                      <a:pt x="43" y="37"/>
                      <a:pt x="54" y="29"/>
                      <a:pt x="68" y="29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1" name="Freeform 35"/>
              <p:cNvSpPr>
                <a:spLocks noEditPoints="1"/>
              </p:cNvSpPr>
              <p:nvPr/>
            </p:nvSpPr>
            <p:spPr bwMode="auto">
              <a:xfrm>
                <a:off x="4986337" y="5373688"/>
                <a:ext cx="881063" cy="452438"/>
              </a:xfrm>
              <a:custGeom>
                <a:avLst/>
                <a:gdLst>
                  <a:gd name="T0" fmla="*/ 1367 w 1369"/>
                  <a:gd name="T1" fmla="*/ 246 h 702"/>
                  <a:gd name="T2" fmla="*/ 1293 w 1369"/>
                  <a:gd name="T3" fmla="*/ 96 h 702"/>
                  <a:gd name="T4" fmla="*/ 1013 w 1369"/>
                  <a:gd name="T5" fmla="*/ 22 h 702"/>
                  <a:gd name="T6" fmla="*/ 721 w 1369"/>
                  <a:gd name="T7" fmla="*/ 9 h 702"/>
                  <a:gd name="T8" fmla="*/ 235 w 1369"/>
                  <a:gd name="T9" fmla="*/ 136 h 702"/>
                  <a:gd name="T10" fmla="*/ 15 w 1369"/>
                  <a:gd name="T11" fmla="*/ 521 h 702"/>
                  <a:gd name="T12" fmla="*/ 218 w 1369"/>
                  <a:gd name="T13" fmla="*/ 694 h 702"/>
                  <a:gd name="T14" fmla="*/ 344 w 1369"/>
                  <a:gd name="T15" fmla="*/ 401 h 702"/>
                  <a:gd name="T16" fmla="*/ 149 w 1369"/>
                  <a:gd name="T17" fmla="*/ 482 h 702"/>
                  <a:gd name="T18" fmla="*/ 272 w 1369"/>
                  <a:gd name="T19" fmla="*/ 568 h 702"/>
                  <a:gd name="T20" fmla="*/ 287 w 1369"/>
                  <a:gd name="T21" fmla="*/ 561 h 702"/>
                  <a:gd name="T22" fmla="*/ 287 w 1369"/>
                  <a:gd name="T23" fmla="*/ 561 h 702"/>
                  <a:gd name="T24" fmla="*/ 299 w 1369"/>
                  <a:gd name="T25" fmla="*/ 527 h 702"/>
                  <a:gd name="T26" fmla="*/ 263 w 1369"/>
                  <a:gd name="T27" fmla="*/ 506 h 702"/>
                  <a:gd name="T28" fmla="*/ 256 w 1369"/>
                  <a:gd name="T29" fmla="*/ 508 h 702"/>
                  <a:gd name="T30" fmla="*/ 213 w 1369"/>
                  <a:gd name="T31" fmla="*/ 481 h 702"/>
                  <a:gd name="T32" fmla="*/ 219 w 1369"/>
                  <a:gd name="T33" fmla="*/ 462 h 702"/>
                  <a:gd name="T34" fmla="*/ 339 w 1369"/>
                  <a:gd name="T35" fmla="*/ 494 h 702"/>
                  <a:gd name="T36" fmla="*/ 226 w 1369"/>
                  <a:gd name="T37" fmla="*/ 617 h 702"/>
                  <a:gd name="T38" fmla="*/ 112 w 1369"/>
                  <a:gd name="T39" fmla="*/ 411 h 702"/>
                  <a:gd name="T40" fmla="*/ 522 w 1369"/>
                  <a:gd name="T41" fmla="*/ 554 h 702"/>
                  <a:gd name="T42" fmla="*/ 713 w 1369"/>
                  <a:gd name="T43" fmla="*/ 407 h 702"/>
                  <a:gd name="T44" fmla="*/ 989 w 1369"/>
                  <a:gd name="T45" fmla="*/ 554 h 702"/>
                  <a:gd name="T46" fmla="*/ 1061 w 1369"/>
                  <a:gd name="T47" fmla="*/ 391 h 702"/>
                  <a:gd name="T48" fmla="*/ 1291 w 1369"/>
                  <a:gd name="T49" fmla="*/ 366 h 702"/>
                  <a:gd name="T50" fmla="*/ 1356 w 1369"/>
                  <a:gd name="T51" fmla="*/ 322 h 702"/>
                  <a:gd name="T52" fmla="*/ 1363 w 1369"/>
                  <a:gd name="T53" fmla="*/ 298 h 702"/>
                  <a:gd name="T54" fmla="*/ 1246 w 1369"/>
                  <a:gd name="T55" fmla="*/ 327 h 702"/>
                  <a:gd name="T56" fmla="*/ 1070 w 1369"/>
                  <a:gd name="T57" fmla="*/ 265 h 702"/>
                  <a:gd name="T58" fmla="*/ 1241 w 1369"/>
                  <a:gd name="T59" fmla="*/ 296 h 702"/>
                  <a:gd name="T60" fmla="*/ 1143 w 1369"/>
                  <a:gd name="T61" fmla="*/ 178 h 702"/>
                  <a:gd name="T62" fmla="*/ 1227 w 1369"/>
                  <a:gd name="T63" fmla="*/ 100 h 702"/>
                  <a:gd name="T64" fmla="*/ 1279 w 1369"/>
                  <a:gd name="T65" fmla="*/ 240 h 702"/>
                  <a:gd name="T66" fmla="*/ 1143 w 1369"/>
                  <a:gd name="T67" fmla="*/ 178 h 7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369" h="702">
                    <a:moveTo>
                      <a:pt x="1359" y="258"/>
                    </a:moveTo>
                    <a:cubicBezTo>
                      <a:pt x="1361" y="256"/>
                      <a:pt x="1369" y="251"/>
                      <a:pt x="1367" y="246"/>
                    </a:cubicBezTo>
                    <a:cubicBezTo>
                      <a:pt x="1360" y="220"/>
                      <a:pt x="1335" y="135"/>
                      <a:pt x="1314" y="114"/>
                    </a:cubicBezTo>
                    <a:cubicBezTo>
                      <a:pt x="1308" y="108"/>
                      <a:pt x="1303" y="101"/>
                      <a:pt x="1293" y="96"/>
                    </a:cubicBezTo>
                    <a:cubicBezTo>
                      <a:pt x="1213" y="49"/>
                      <a:pt x="1024" y="21"/>
                      <a:pt x="1015" y="20"/>
                    </a:cubicBezTo>
                    <a:cubicBezTo>
                      <a:pt x="1015" y="20"/>
                      <a:pt x="1013" y="19"/>
                      <a:pt x="1013" y="22"/>
                    </a:cubicBezTo>
                    <a:cubicBezTo>
                      <a:pt x="1013" y="22"/>
                      <a:pt x="1012" y="61"/>
                      <a:pt x="1012" y="65"/>
                    </a:cubicBezTo>
                    <a:cubicBezTo>
                      <a:pt x="993" y="59"/>
                      <a:pt x="852" y="13"/>
                      <a:pt x="721" y="9"/>
                    </a:cubicBezTo>
                    <a:cubicBezTo>
                      <a:pt x="609" y="5"/>
                      <a:pt x="457" y="0"/>
                      <a:pt x="241" y="132"/>
                    </a:cubicBezTo>
                    <a:cubicBezTo>
                      <a:pt x="235" y="136"/>
                      <a:pt x="235" y="136"/>
                      <a:pt x="235" y="136"/>
                    </a:cubicBezTo>
                    <a:cubicBezTo>
                      <a:pt x="133" y="199"/>
                      <a:pt x="63" y="277"/>
                      <a:pt x="27" y="368"/>
                    </a:cubicBezTo>
                    <a:cubicBezTo>
                      <a:pt x="15" y="396"/>
                      <a:pt x="0" y="461"/>
                      <a:pt x="15" y="521"/>
                    </a:cubicBezTo>
                    <a:cubicBezTo>
                      <a:pt x="22" y="548"/>
                      <a:pt x="34" y="574"/>
                      <a:pt x="51" y="598"/>
                    </a:cubicBezTo>
                    <a:cubicBezTo>
                      <a:pt x="88" y="652"/>
                      <a:pt x="151" y="687"/>
                      <a:pt x="218" y="694"/>
                    </a:cubicBezTo>
                    <a:cubicBezTo>
                      <a:pt x="314" y="702"/>
                      <a:pt x="386" y="659"/>
                      <a:pt x="412" y="579"/>
                    </a:cubicBezTo>
                    <a:cubicBezTo>
                      <a:pt x="430" y="523"/>
                      <a:pt x="412" y="442"/>
                      <a:pt x="344" y="401"/>
                    </a:cubicBezTo>
                    <a:cubicBezTo>
                      <a:pt x="289" y="367"/>
                      <a:pt x="230" y="375"/>
                      <a:pt x="195" y="397"/>
                    </a:cubicBezTo>
                    <a:cubicBezTo>
                      <a:pt x="166" y="417"/>
                      <a:pt x="149" y="448"/>
                      <a:pt x="149" y="482"/>
                    </a:cubicBezTo>
                    <a:cubicBezTo>
                      <a:pt x="150" y="541"/>
                      <a:pt x="201" y="573"/>
                      <a:pt x="238" y="573"/>
                    </a:cubicBezTo>
                    <a:cubicBezTo>
                      <a:pt x="249" y="573"/>
                      <a:pt x="260" y="572"/>
                      <a:pt x="272" y="568"/>
                    </a:cubicBezTo>
                    <a:cubicBezTo>
                      <a:pt x="277" y="566"/>
                      <a:pt x="281" y="565"/>
                      <a:pt x="285" y="562"/>
                    </a:cubicBezTo>
                    <a:cubicBezTo>
                      <a:pt x="287" y="561"/>
                      <a:pt x="287" y="561"/>
                      <a:pt x="287" y="561"/>
                    </a:cubicBezTo>
                    <a:cubicBezTo>
                      <a:pt x="287" y="560"/>
                      <a:pt x="287" y="560"/>
                      <a:pt x="287" y="560"/>
                    </a:cubicBezTo>
                    <a:cubicBezTo>
                      <a:pt x="287" y="561"/>
                      <a:pt x="287" y="561"/>
                      <a:pt x="287" y="561"/>
                    </a:cubicBezTo>
                    <a:cubicBezTo>
                      <a:pt x="296" y="555"/>
                      <a:pt x="301" y="546"/>
                      <a:pt x="301" y="535"/>
                    </a:cubicBezTo>
                    <a:cubicBezTo>
                      <a:pt x="301" y="533"/>
                      <a:pt x="300" y="530"/>
                      <a:pt x="299" y="527"/>
                    </a:cubicBezTo>
                    <a:cubicBezTo>
                      <a:pt x="295" y="512"/>
                      <a:pt x="280" y="503"/>
                      <a:pt x="265" y="506"/>
                    </a:cubicBezTo>
                    <a:cubicBezTo>
                      <a:pt x="263" y="506"/>
                      <a:pt x="263" y="506"/>
                      <a:pt x="263" y="506"/>
                    </a:cubicBezTo>
                    <a:cubicBezTo>
                      <a:pt x="260" y="507"/>
                      <a:pt x="260" y="507"/>
                      <a:pt x="260" y="507"/>
                    </a:cubicBezTo>
                    <a:cubicBezTo>
                      <a:pt x="256" y="508"/>
                      <a:pt x="256" y="508"/>
                      <a:pt x="256" y="508"/>
                    </a:cubicBezTo>
                    <a:cubicBezTo>
                      <a:pt x="247" y="511"/>
                      <a:pt x="241" y="511"/>
                      <a:pt x="239" y="511"/>
                    </a:cubicBezTo>
                    <a:cubicBezTo>
                      <a:pt x="235" y="510"/>
                      <a:pt x="213" y="504"/>
                      <a:pt x="213" y="481"/>
                    </a:cubicBezTo>
                    <a:cubicBezTo>
                      <a:pt x="213" y="480"/>
                      <a:pt x="213" y="480"/>
                      <a:pt x="213" y="480"/>
                    </a:cubicBezTo>
                    <a:cubicBezTo>
                      <a:pt x="214" y="472"/>
                      <a:pt x="217" y="466"/>
                      <a:pt x="219" y="462"/>
                    </a:cubicBezTo>
                    <a:cubicBezTo>
                      <a:pt x="225" y="452"/>
                      <a:pt x="244" y="442"/>
                      <a:pt x="268" y="444"/>
                    </a:cubicBezTo>
                    <a:cubicBezTo>
                      <a:pt x="301" y="447"/>
                      <a:pt x="324" y="463"/>
                      <a:pt x="339" y="494"/>
                    </a:cubicBezTo>
                    <a:cubicBezTo>
                      <a:pt x="353" y="523"/>
                      <a:pt x="350" y="559"/>
                      <a:pt x="330" y="585"/>
                    </a:cubicBezTo>
                    <a:cubicBezTo>
                      <a:pt x="309" y="611"/>
                      <a:pt x="274" y="622"/>
                      <a:pt x="226" y="617"/>
                    </a:cubicBezTo>
                    <a:cubicBezTo>
                      <a:pt x="178" y="612"/>
                      <a:pt x="138" y="584"/>
                      <a:pt x="115" y="541"/>
                    </a:cubicBezTo>
                    <a:cubicBezTo>
                      <a:pt x="93" y="499"/>
                      <a:pt x="92" y="450"/>
                      <a:pt x="112" y="411"/>
                    </a:cubicBezTo>
                    <a:cubicBezTo>
                      <a:pt x="161" y="320"/>
                      <a:pt x="252" y="321"/>
                      <a:pt x="302" y="330"/>
                    </a:cubicBezTo>
                    <a:cubicBezTo>
                      <a:pt x="374" y="342"/>
                      <a:pt x="482" y="406"/>
                      <a:pt x="522" y="554"/>
                    </a:cubicBezTo>
                    <a:cubicBezTo>
                      <a:pt x="621" y="554"/>
                      <a:pt x="621" y="554"/>
                      <a:pt x="621" y="554"/>
                    </a:cubicBezTo>
                    <a:cubicBezTo>
                      <a:pt x="609" y="516"/>
                      <a:pt x="602" y="407"/>
                      <a:pt x="713" y="407"/>
                    </a:cubicBezTo>
                    <a:cubicBezTo>
                      <a:pt x="835" y="407"/>
                      <a:pt x="850" y="493"/>
                      <a:pt x="885" y="554"/>
                    </a:cubicBezTo>
                    <a:cubicBezTo>
                      <a:pt x="989" y="554"/>
                      <a:pt x="989" y="554"/>
                      <a:pt x="989" y="554"/>
                    </a:cubicBezTo>
                    <a:cubicBezTo>
                      <a:pt x="962" y="515"/>
                      <a:pt x="942" y="471"/>
                      <a:pt x="949" y="434"/>
                    </a:cubicBezTo>
                    <a:cubicBezTo>
                      <a:pt x="958" y="379"/>
                      <a:pt x="1001" y="384"/>
                      <a:pt x="1061" y="391"/>
                    </a:cubicBezTo>
                    <a:cubicBezTo>
                      <a:pt x="1080" y="393"/>
                      <a:pt x="1103" y="396"/>
                      <a:pt x="1126" y="396"/>
                    </a:cubicBezTo>
                    <a:cubicBezTo>
                      <a:pt x="1190" y="397"/>
                      <a:pt x="1248" y="385"/>
                      <a:pt x="1291" y="366"/>
                    </a:cubicBezTo>
                    <a:cubicBezTo>
                      <a:pt x="1319" y="354"/>
                      <a:pt x="1336" y="346"/>
                      <a:pt x="1347" y="336"/>
                    </a:cubicBezTo>
                    <a:cubicBezTo>
                      <a:pt x="1351" y="333"/>
                      <a:pt x="1353" y="328"/>
                      <a:pt x="1356" y="322"/>
                    </a:cubicBezTo>
                    <a:cubicBezTo>
                      <a:pt x="1357" y="318"/>
                      <a:pt x="1357" y="318"/>
                      <a:pt x="1357" y="318"/>
                    </a:cubicBezTo>
                    <a:cubicBezTo>
                      <a:pt x="1359" y="313"/>
                      <a:pt x="1361" y="304"/>
                      <a:pt x="1363" y="298"/>
                    </a:cubicBezTo>
                    <a:cubicBezTo>
                      <a:pt x="1365" y="287"/>
                      <a:pt x="1356" y="293"/>
                      <a:pt x="1356" y="293"/>
                    </a:cubicBezTo>
                    <a:cubicBezTo>
                      <a:pt x="1337" y="304"/>
                      <a:pt x="1290" y="326"/>
                      <a:pt x="1246" y="327"/>
                    </a:cubicBezTo>
                    <a:cubicBezTo>
                      <a:pt x="1192" y="328"/>
                      <a:pt x="1082" y="272"/>
                      <a:pt x="1071" y="266"/>
                    </a:cubicBezTo>
                    <a:cubicBezTo>
                      <a:pt x="1070" y="265"/>
                      <a:pt x="1070" y="265"/>
                      <a:pt x="1070" y="265"/>
                    </a:cubicBezTo>
                    <a:cubicBezTo>
                      <a:pt x="1067" y="258"/>
                      <a:pt x="1051" y="219"/>
                      <a:pt x="1047" y="211"/>
                    </a:cubicBezTo>
                    <a:cubicBezTo>
                      <a:pt x="1126" y="263"/>
                      <a:pt x="1191" y="292"/>
                      <a:pt x="1241" y="296"/>
                    </a:cubicBezTo>
                    <a:cubicBezTo>
                      <a:pt x="1297" y="301"/>
                      <a:pt x="1341" y="271"/>
                      <a:pt x="1359" y="258"/>
                    </a:cubicBezTo>
                    <a:close/>
                    <a:moveTo>
                      <a:pt x="1143" y="178"/>
                    </a:moveTo>
                    <a:cubicBezTo>
                      <a:pt x="1144" y="156"/>
                      <a:pt x="1153" y="136"/>
                      <a:pt x="1169" y="122"/>
                    </a:cubicBezTo>
                    <a:cubicBezTo>
                      <a:pt x="1184" y="107"/>
                      <a:pt x="1205" y="99"/>
                      <a:pt x="1227" y="100"/>
                    </a:cubicBezTo>
                    <a:cubicBezTo>
                      <a:pt x="1271" y="102"/>
                      <a:pt x="1306" y="139"/>
                      <a:pt x="1305" y="184"/>
                    </a:cubicBezTo>
                    <a:cubicBezTo>
                      <a:pt x="1304" y="205"/>
                      <a:pt x="1295" y="225"/>
                      <a:pt x="1279" y="240"/>
                    </a:cubicBezTo>
                    <a:cubicBezTo>
                      <a:pt x="1263" y="255"/>
                      <a:pt x="1243" y="263"/>
                      <a:pt x="1221" y="262"/>
                    </a:cubicBezTo>
                    <a:cubicBezTo>
                      <a:pt x="1176" y="260"/>
                      <a:pt x="1141" y="223"/>
                      <a:pt x="1143" y="178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108" name="Group 107"/>
          <p:cNvGrpSpPr/>
          <p:nvPr/>
        </p:nvGrpSpPr>
        <p:grpSpPr>
          <a:xfrm>
            <a:off x="4701017" y="5776248"/>
            <a:ext cx="1850762" cy="417453"/>
            <a:chOff x="2643188" y="6081713"/>
            <a:chExt cx="1851025" cy="417512"/>
          </a:xfrm>
        </p:grpSpPr>
        <p:sp>
          <p:nvSpPr>
            <p:cNvPr id="109" name="AutoShape 37"/>
            <p:cNvSpPr>
              <a:spLocks noChangeAspect="1" noChangeArrowheads="1" noTextEdit="1"/>
            </p:cNvSpPr>
            <p:nvPr/>
          </p:nvSpPr>
          <p:spPr bwMode="auto">
            <a:xfrm>
              <a:off x="2643188" y="6081713"/>
              <a:ext cx="1851025" cy="417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10" name="Oval 39"/>
            <p:cNvSpPr>
              <a:spLocks noChangeArrowheads="1"/>
            </p:cNvSpPr>
            <p:nvPr/>
          </p:nvSpPr>
          <p:spPr bwMode="auto">
            <a:xfrm>
              <a:off x="4271963" y="6081713"/>
              <a:ext cx="222250" cy="222250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11" name="Freeform 40"/>
            <p:cNvSpPr>
              <a:spLocks noEditPoints="1"/>
            </p:cNvSpPr>
            <p:nvPr/>
          </p:nvSpPr>
          <p:spPr bwMode="auto">
            <a:xfrm>
              <a:off x="4292601" y="6110288"/>
              <a:ext cx="155575" cy="165100"/>
            </a:xfrm>
            <a:custGeom>
              <a:avLst/>
              <a:gdLst>
                <a:gd name="T0" fmla="*/ 25 w 253"/>
                <a:gd name="T1" fmla="*/ 110 h 269"/>
                <a:gd name="T2" fmla="*/ 0 w 253"/>
                <a:gd name="T3" fmla="*/ 134 h 269"/>
                <a:gd name="T4" fmla="*/ 25 w 253"/>
                <a:gd name="T5" fmla="*/ 159 h 269"/>
                <a:gd name="T6" fmla="*/ 49 w 253"/>
                <a:gd name="T7" fmla="*/ 134 h 269"/>
                <a:gd name="T8" fmla="*/ 25 w 253"/>
                <a:gd name="T9" fmla="*/ 110 h 269"/>
                <a:gd name="T10" fmla="*/ 197 w 253"/>
                <a:gd name="T11" fmla="*/ 220 h 269"/>
                <a:gd name="T12" fmla="*/ 188 w 253"/>
                <a:gd name="T13" fmla="*/ 253 h 269"/>
                <a:gd name="T14" fmla="*/ 222 w 253"/>
                <a:gd name="T15" fmla="*/ 262 h 269"/>
                <a:gd name="T16" fmla="*/ 230 w 253"/>
                <a:gd name="T17" fmla="*/ 229 h 269"/>
                <a:gd name="T18" fmla="*/ 197 w 253"/>
                <a:gd name="T19" fmla="*/ 220 h 269"/>
                <a:gd name="T20" fmla="*/ 77 w 253"/>
                <a:gd name="T21" fmla="*/ 134 h 269"/>
                <a:gd name="T22" fmla="*/ 107 w 253"/>
                <a:gd name="T23" fmla="*/ 77 h 269"/>
                <a:gd name="T24" fmla="*/ 89 w 253"/>
                <a:gd name="T25" fmla="*/ 47 h 269"/>
                <a:gd name="T26" fmla="*/ 46 w 253"/>
                <a:gd name="T27" fmla="*/ 108 h 269"/>
                <a:gd name="T28" fmla="*/ 59 w 253"/>
                <a:gd name="T29" fmla="*/ 134 h 269"/>
                <a:gd name="T30" fmla="*/ 46 w 253"/>
                <a:gd name="T31" fmla="*/ 161 h 269"/>
                <a:gd name="T32" fmla="*/ 89 w 253"/>
                <a:gd name="T33" fmla="*/ 222 h 269"/>
                <a:gd name="T34" fmla="*/ 107 w 253"/>
                <a:gd name="T35" fmla="*/ 192 h 269"/>
                <a:gd name="T36" fmla="*/ 77 w 253"/>
                <a:gd name="T37" fmla="*/ 134 h 269"/>
                <a:gd name="T38" fmla="*/ 148 w 253"/>
                <a:gd name="T39" fmla="*/ 64 h 269"/>
                <a:gd name="T40" fmla="*/ 218 w 253"/>
                <a:gd name="T41" fmla="*/ 128 h 269"/>
                <a:gd name="T42" fmla="*/ 253 w 253"/>
                <a:gd name="T43" fmla="*/ 128 h 269"/>
                <a:gd name="T44" fmla="*/ 221 w 253"/>
                <a:gd name="T45" fmla="*/ 59 h 269"/>
                <a:gd name="T46" fmla="*/ 192 w 253"/>
                <a:gd name="T47" fmla="*/ 57 h 269"/>
                <a:gd name="T48" fmla="*/ 176 w 253"/>
                <a:gd name="T49" fmla="*/ 33 h 269"/>
                <a:gd name="T50" fmla="*/ 148 w 253"/>
                <a:gd name="T51" fmla="*/ 29 h 269"/>
                <a:gd name="T52" fmla="*/ 101 w 253"/>
                <a:gd name="T53" fmla="*/ 40 h 269"/>
                <a:gd name="T54" fmla="*/ 118 w 253"/>
                <a:gd name="T55" fmla="*/ 70 h 269"/>
                <a:gd name="T56" fmla="*/ 148 w 253"/>
                <a:gd name="T57" fmla="*/ 64 h 269"/>
                <a:gd name="T58" fmla="*/ 148 w 253"/>
                <a:gd name="T59" fmla="*/ 205 h 269"/>
                <a:gd name="T60" fmla="*/ 118 w 253"/>
                <a:gd name="T61" fmla="*/ 199 h 269"/>
                <a:gd name="T62" fmla="*/ 101 w 253"/>
                <a:gd name="T63" fmla="*/ 229 h 269"/>
                <a:gd name="T64" fmla="*/ 148 w 253"/>
                <a:gd name="T65" fmla="*/ 240 h 269"/>
                <a:gd name="T66" fmla="*/ 176 w 253"/>
                <a:gd name="T67" fmla="*/ 236 h 269"/>
                <a:gd name="T68" fmla="*/ 192 w 253"/>
                <a:gd name="T69" fmla="*/ 212 h 269"/>
                <a:gd name="T70" fmla="*/ 221 w 253"/>
                <a:gd name="T71" fmla="*/ 209 h 269"/>
                <a:gd name="T72" fmla="*/ 253 w 253"/>
                <a:gd name="T73" fmla="*/ 141 h 269"/>
                <a:gd name="T74" fmla="*/ 218 w 253"/>
                <a:gd name="T75" fmla="*/ 141 h 269"/>
                <a:gd name="T76" fmla="*/ 148 w 253"/>
                <a:gd name="T77" fmla="*/ 205 h 269"/>
                <a:gd name="T78" fmla="*/ 197 w 253"/>
                <a:gd name="T79" fmla="*/ 49 h 269"/>
                <a:gd name="T80" fmla="*/ 230 w 253"/>
                <a:gd name="T81" fmla="*/ 40 h 269"/>
                <a:gd name="T82" fmla="*/ 222 w 253"/>
                <a:gd name="T83" fmla="*/ 7 h 269"/>
                <a:gd name="T84" fmla="*/ 188 w 253"/>
                <a:gd name="T85" fmla="*/ 16 h 269"/>
                <a:gd name="T86" fmla="*/ 197 w 253"/>
                <a:gd name="T87" fmla="*/ 49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3" h="269">
                  <a:moveTo>
                    <a:pt x="25" y="110"/>
                  </a:moveTo>
                  <a:cubicBezTo>
                    <a:pt x="11" y="110"/>
                    <a:pt x="0" y="121"/>
                    <a:pt x="0" y="134"/>
                  </a:cubicBezTo>
                  <a:cubicBezTo>
                    <a:pt x="0" y="148"/>
                    <a:pt x="11" y="159"/>
                    <a:pt x="25" y="159"/>
                  </a:cubicBezTo>
                  <a:cubicBezTo>
                    <a:pt x="38" y="159"/>
                    <a:pt x="49" y="148"/>
                    <a:pt x="49" y="134"/>
                  </a:cubicBezTo>
                  <a:cubicBezTo>
                    <a:pt x="49" y="121"/>
                    <a:pt x="38" y="110"/>
                    <a:pt x="25" y="110"/>
                  </a:cubicBezTo>
                  <a:close/>
                  <a:moveTo>
                    <a:pt x="197" y="220"/>
                  </a:moveTo>
                  <a:cubicBezTo>
                    <a:pt x="186" y="227"/>
                    <a:pt x="182" y="242"/>
                    <a:pt x="188" y="253"/>
                  </a:cubicBezTo>
                  <a:cubicBezTo>
                    <a:pt x="195" y="265"/>
                    <a:pt x="210" y="269"/>
                    <a:pt x="222" y="262"/>
                  </a:cubicBezTo>
                  <a:cubicBezTo>
                    <a:pt x="233" y="255"/>
                    <a:pt x="237" y="241"/>
                    <a:pt x="230" y="229"/>
                  </a:cubicBezTo>
                  <a:cubicBezTo>
                    <a:pt x="224" y="218"/>
                    <a:pt x="209" y="214"/>
                    <a:pt x="197" y="220"/>
                  </a:cubicBezTo>
                  <a:close/>
                  <a:moveTo>
                    <a:pt x="77" y="134"/>
                  </a:moveTo>
                  <a:cubicBezTo>
                    <a:pt x="77" y="111"/>
                    <a:pt x="89" y="89"/>
                    <a:pt x="107" y="77"/>
                  </a:cubicBezTo>
                  <a:cubicBezTo>
                    <a:pt x="89" y="47"/>
                    <a:pt x="89" y="47"/>
                    <a:pt x="89" y="47"/>
                  </a:cubicBezTo>
                  <a:cubicBezTo>
                    <a:pt x="68" y="61"/>
                    <a:pt x="53" y="83"/>
                    <a:pt x="46" y="108"/>
                  </a:cubicBezTo>
                  <a:cubicBezTo>
                    <a:pt x="54" y="114"/>
                    <a:pt x="59" y="124"/>
                    <a:pt x="59" y="134"/>
                  </a:cubicBezTo>
                  <a:cubicBezTo>
                    <a:pt x="59" y="145"/>
                    <a:pt x="54" y="155"/>
                    <a:pt x="46" y="161"/>
                  </a:cubicBezTo>
                  <a:cubicBezTo>
                    <a:pt x="53" y="186"/>
                    <a:pt x="68" y="208"/>
                    <a:pt x="89" y="222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89" y="179"/>
                    <a:pt x="77" y="158"/>
                    <a:pt x="77" y="134"/>
                  </a:cubicBezTo>
                  <a:close/>
                  <a:moveTo>
                    <a:pt x="148" y="64"/>
                  </a:moveTo>
                  <a:cubicBezTo>
                    <a:pt x="185" y="64"/>
                    <a:pt x="215" y="92"/>
                    <a:pt x="218" y="128"/>
                  </a:cubicBezTo>
                  <a:cubicBezTo>
                    <a:pt x="253" y="128"/>
                    <a:pt x="253" y="128"/>
                    <a:pt x="253" y="128"/>
                  </a:cubicBezTo>
                  <a:cubicBezTo>
                    <a:pt x="251" y="101"/>
                    <a:pt x="239" y="77"/>
                    <a:pt x="221" y="59"/>
                  </a:cubicBezTo>
                  <a:cubicBezTo>
                    <a:pt x="212" y="63"/>
                    <a:pt x="202" y="62"/>
                    <a:pt x="192" y="57"/>
                  </a:cubicBezTo>
                  <a:cubicBezTo>
                    <a:pt x="183" y="52"/>
                    <a:pt x="177" y="43"/>
                    <a:pt x="176" y="33"/>
                  </a:cubicBezTo>
                  <a:cubicBezTo>
                    <a:pt x="167" y="31"/>
                    <a:pt x="158" y="29"/>
                    <a:pt x="148" y="29"/>
                  </a:cubicBezTo>
                  <a:cubicBezTo>
                    <a:pt x="131" y="29"/>
                    <a:pt x="115" y="33"/>
                    <a:pt x="101" y="40"/>
                  </a:cubicBezTo>
                  <a:cubicBezTo>
                    <a:pt x="118" y="70"/>
                    <a:pt x="118" y="70"/>
                    <a:pt x="118" y="70"/>
                  </a:cubicBezTo>
                  <a:cubicBezTo>
                    <a:pt x="127" y="66"/>
                    <a:pt x="137" y="64"/>
                    <a:pt x="148" y="64"/>
                  </a:cubicBezTo>
                  <a:close/>
                  <a:moveTo>
                    <a:pt x="148" y="205"/>
                  </a:moveTo>
                  <a:cubicBezTo>
                    <a:pt x="137" y="205"/>
                    <a:pt x="127" y="203"/>
                    <a:pt x="118" y="199"/>
                  </a:cubicBezTo>
                  <a:cubicBezTo>
                    <a:pt x="101" y="229"/>
                    <a:pt x="101" y="229"/>
                    <a:pt x="101" y="229"/>
                  </a:cubicBezTo>
                  <a:cubicBezTo>
                    <a:pt x="115" y="236"/>
                    <a:pt x="131" y="240"/>
                    <a:pt x="148" y="240"/>
                  </a:cubicBezTo>
                  <a:cubicBezTo>
                    <a:pt x="158" y="240"/>
                    <a:pt x="167" y="238"/>
                    <a:pt x="176" y="236"/>
                  </a:cubicBezTo>
                  <a:cubicBezTo>
                    <a:pt x="177" y="226"/>
                    <a:pt x="183" y="217"/>
                    <a:pt x="192" y="212"/>
                  </a:cubicBezTo>
                  <a:cubicBezTo>
                    <a:pt x="202" y="206"/>
                    <a:pt x="212" y="206"/>
                    <a:pt x="221" y="209"/>
                  </a:cubicBezTo>
                  <a:cubicBezTo>
                    <a:pt x="239" y="192"/>
                    <a:pt x="251" y="168"/>
                    <a:pt x="253" y="141"/>
                  </a:cubicBezTo>
                  <a:cubicBezTo>
                    <a:pt x="218" y="141"/>
                    <a:pt x="218" y="141"/>
                    <a:pt x="218" y="141"/>
                  </a:cubicBezTo>
                  <a:cubicBezTo>
                    <a:pt x="215" y="177"/>
                    <a:pt x="185" y="205"/>
                    <a:pt x="148" y="205"/>
                  </a:cubicBezTo>
                  <a:close/>
                  <a:moveTo>
                    <a:pt x="197" y="49"/>
                  </a:moveTo>
                  <a:cubicBezTo>
                    <a:pt x="209" y="55"/>
                    <a:pt x="224" y="51"/>
                    <a:pt x="230" y="40"/>
                  </a:cubicBezTo>
                  <a:cubicBezTo>
                    <a:pt x="237" y="28"/>
                    <a:pt x="233" y="13"/>
                    <a:pt x="222" y="7"/>
                  </a:cubicBezTo>
                  <a:cubicBezTo>
                    <a:pt x="210" y="0"/>
                    <a:pt x="195" y="4"/>
                    <a:pt x="188" y="16"/>
                  </a:cubicBezTo>
                  <a:cubicBezTo>
                    <a:pt x="182" y="27"/>
                    <a:pt x="186" y="42"/>
                    <a:pt x="197" y="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12" name="Freeform 41"/>
            <p:cNvSpPr>
              <a:spLocks/>
            </p:cNvSpPr>
            <p:nvPr/>
          </p:nvSpPr>
          <p:spPr bwMode="auto">
            <a:xfrm>
              <a:off x="2643188" y="6216650"/>
              <a:ext cx="222250" cy="282575"/>
            </a:xfrm>
            <a:custGeom>
              <a:avLst/>
              <a:gdLst>
                <a:gd name="T0" fmla="*/ 362 w 362"/>
                <a:gd name="T1" fmla="*/ 436 h 459"/>
                <a:gd name="T2" fmla="*/ 289 w 362"/>
                <a:gd name="T3" fmla="*/ 451 h 459"/>
                <a:gd name="T4" fmla="*/ 184 w 362"/>
                <a:gd name="T5" fmla="*/ 459 h 459"/>
                <a:gd name="T6" fmla="*/ 97 w 362"/>
                <a:gd name="T7" fmla="*/ 444 h 459"/>
                <a:gd name="T8" fmla="*/ 40 w 362"/>
                <a:gd name="T9" fmla="*/ 401 h 459"/>
                <a:gd name="T10" fmla="*/ 9 w 362"/>
                <a:gd name="T11" fmla="*/ 336 h 459"/>
                <a:gd name="T12" fmla="*/ 0 w 362"/>
                <a:gd name="T13" fmla="*/ 252 h 459"/>
                <a:gd name="T14" fmla="*/ 0 w 362"/>
                <a:gd name="T15" fmla="*/ 0 h 459"/>
                <a:gd name="T16" fmla="*/ 80 w 362"/>
                <a:gd name="T17" fmla="*/ 0 h 459"/>
                <a:gd name="T18" fmla="*/ 80 w 362"/>
                <a:gd name="T19" fmla="*/ 235 h 459"/>
                <a:gd name="T20" fmla="*/ 106 w 362"/>
                <a:gd name="T21" fmla="*/ 352 h 459"/>
                <a:gd name="T22" fmla="*/ 193 w 362"/>
                <a:gd name="T23" fmla="*/ 388 h 459"/>
                <a:gd name="T24" fmla="*/ 220 w 362"/>
                <a:gd name="T25" fmla="*/ 387 h 459"/>
                <a:gd name="T26" fmla="*/ 246 w 362"/>
                <a:gd name="T27" fmla="*/ 385 h 459"/>
                <a:gd name="T28" fmla="*/ 268 w 362"/>
                <a:gd name="T29" fmla="*/ 382 h 459"/>
                <a:gd name="T30" fmla="*/ 282 w 362"/>
                <a:gd name="T31" fmla="*/ 379 h 459"/>
                <a:gd name="T32" fmla="*/ 282 w 362"/>
                <a:gd name="T33" fmla="*/ 0 h 459"/>
                <a:gd name="T34" fmla="*/ 362 w 362"/>
                <a:gd name="T35" fmla="*/ 0 h 459"/>
                <a:gd name="T36" fmla="*/ 362 w 362"/>
                <a:gd name="T37" fmla="*/ 436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2" h="459">
                  <a:moveTo>
                    <a:pt x="362" y="436"/>
                  </a:moveTo>
                  <a:cubicBezTo>
                    <a:pt x="344" y="441"/>
                    <a:pt x="320" y="446"/>
                    <a:pt x="289" y="451"/>
                  </a:cubicBezTo>
                  <a:cubicBezTo>
                    <a:pt x="259" y="456"/>
                    <a:pt x="224" y="459"/>
                    <a:pt x="184" y="459"/>
                  </a:cubicBezTo>
                  <a:cubicBezTo>
                    <a:pt x="150" y="459"/>
                    <a:pt x="121" y="454"/>
                    <a:pt x="97" y="444"/>
                  </a:cubicBezTo>
                  <a:cubicBezTo>
                    <a:pt x="74" y="433"/>
                    <a:pt x="55" y="419"/>
                    <a:pt x="40" y="401"/>
                  </a:cubicBezTo>
                  <a:cubicBezTo>
                    <a:pt x="26" y="382"/>
                    <a:pt x="16" y="361"/>
                    <a:pt x="9" y="336"/>
                  </a:cubicBezTo>
                  <a:cubicBezTo>
                    <a:pt x="3" y="311"/>
                    <a:pt x="0" y="283"/>
                    <a:pt x="0" y="25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235"/>
                    <a:pt x="80" y="235"/>
                    <a:pt x="80" y="235"/>
                  </a:cubicBezTo>
                  <a:cubicBezTo>
                    <a:pt x="80" y="290"/>
                    <a:pt x="89" y="329"/>
                    <a:pt x="106" y="352"/>
                  </a:cubicBezTo>
                  <a:cubicBezTo>
                    <a:pt x="123" y="376"/>
                    <a:pt x="152" y="388"/>
                    <a:pt x="193" y="388"/>
                  </a:cubicBezTo>
                  <a:cubicBezTo>
                    <a:pt x="202" y="388"/>
                    <a:pt x="211" y="388"/>
                    <a:pt x="220" y="387"/>
                  </a:cubicBezTo>
                  <a:cubicBezTo>
                    <a:pt x="229" y="386"/>
                    <a:pt x="238" y="386"/>
                    <a:pt x="246" y="385"/>
                  </a:cubicBezTo>
                  <a:cubicBezTo>
                    <a:pt x="254" y="384"/>
                    <a:pt x="261" y="383"/>
                    <a:pt x="268" y="382"/>
                  </a:cubicBezTo>
                  <a:cubicBezTo>
                    <a:pt x="274" y="381"/>
                    <a:pt x="279" y="380"/>
                    <a:pt x="282" y="379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362" y="436"/>
                    <a:pt x="362" y="436"/>
                    <a:pt x="362" y="4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13" name="Freeform 42"/>
            <p:cNvSpPr>
              <a:spLocks noEditPoints="1"/>
            </p:cNvSpPr>
            <p:nvPr/>
          </p:nvSpPr>
          <p:spPr bwMode="auto">
            <a:xfrm>
              <a:off x="2935288" y="6081713"/>
              <a:ext cx="241300" cy="417512"/>
            </a:xfrm>
            <a:custGeom>
              <a:avLst/>
              <a:gdLst>
                <a:gd name="T0" fmla="*/ 80 w 395"/>
                <a:gd name="T1" fmla="*/ 241 h 680"/>
                <a:gd name="T2" fmla="*/ 125 w 395"/>
                <a:gd name="T3" fmla="*/ 221 h 680"/>
                <a:gd name="T4" fmla="*/ 193 w 395"/>
                <a:gd name="T5" fmla="*/ 211 h 680"/>
                <a:gd name="T6" fmla="*/ 279 w 395"/>
                <a:gd name="T7" fmla="*/ 228 h 680"/>
                <a:gd name="T8" fmla="*/ 343 w 395"/>
                <a:gd name="T9" fmla="*/ 276 h 680"/>
                <a:gd name="T10" fmla="*/ 382 w 395"/>
                <a:gd name="T11" fmla="*/ 351 h 680"/>
                <a:gd name="T12" fmla="*/ 395 w 395"/>
                <a:gd name="T13" fmla="*/ 446 h 680"/>
                <a:gd name="T14" fmla="*/ 379 w 395"/>
                <a:gd name="T15" fmla="*/ 544 h 680"/>
                <a:gd name="T16" fmla="*/ 334 w 395"/>
                <a:gd name="T17" fmla="*/ 617 h 680"/>
                <a:gd name="T18" fmla="*/ 263 w 395"/>
                <a:gd name="T19" fmla="*/ 664 h 680"/>
                <a:gd name="T20" fmla="*/ 170 w 395"/>
                <a:gd name="T21" fmla="*/ 680 h 680"/>
                <a:gd name="T22" fmla="*/ 71 w 395"/>
                <a:gd name="T23" fmla="*/ 673 h 680"/>
                <a:gd name="T24" fmla="*/ 0 w 395"/>
                <a:gd name="T25" fmla="*/ 657 h 680"/>
                <a:gd name="T26" fmla="*/ 0 w 395"/>
                <a:gd name="T27" fmla="*/ 14 h 680"/>
                <a:gd name="T28" fmla="*/ 80 w 395"/>
                <a:gd name="T29" fmla="*/ 0 h 680"/>
                <a:gd name="T30" fmla="*/ 80 w 395"/>
                <a:gd name="T31" fmla="*/ 241 h 680"/>
                <a:gd name="T32" fmla="*/ 80 w 395"/>
                <a:gd name="T33" fmla="*/ 600 h 680"/>
                <a:gd name="T34" fmla="*/ 114 w 395"/>
                <a:gd name="T35" fmla="*/ 607 h 680"/>
                <a:gd name="T36" fmla="*/ 169 w 395"/>
                <a:gd name="T37" fmla="*/ 610 h 680"/>
                <a:gd name="T38" fmla="*/ 273 w 395"/>
                <a:gd name="T39" fmla="*/ 567 h 680"/>
                <a:gd name="T40" fmla="*/ 312 w 395"/>
                <a:gd name="T41" fmla="*/ 446 h 680"/>
                <a:gd name="T42" fmla="*/ 305 w 395"/>
                <a:gd name="T43" fmla="*/ 381 h 680"/>
                <a:gd name="T44" fmla="*/ 282 w 395"/>
                <a:gd name="T45" fmla="*/ 329 h 680"/>
                <a:gd name="T46" fmla="*/ 242 w 395"/>
                <a:gd name="T47" fmla="*/ 294 h 680"/>
                <a:gd name="T48" fmla="*/ 183 w 395"/>
                <a:gd name="T49" fmla="*/ 282 h 680"/>
                <a:gd name="T50" fmla="*/ 123 w 395"/>
                <a:gd name="T51" fmla="*/ 293 h 680"/>
                <a:gd name="T52" fmla="*/ 80 w 395"/>
                <a:gd name="T53" fmla="*/ 316 h 680"/>
                <a:gd name="T54" fmla="*/ 80 w 395"/>
                <a:gd name="T55" fmla="*/ 60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95" h="680">
                  <a:moveTo>
                    <a:pt x="80" y="241"/>
                  </a:moveTo>
                  <a:cubicBezTo>
                    <a:pt x="90" y="235"/>
                    <a:pt x="105" y="228"/>
                    <a:pt x="125" y="221"/>
                  </a:cubicBezTo>
                  <a:cubicBezTo>
                    <a:pt x="145" y="214"/>
                    <a:pt x="167" y="211"/>
                    <a:pt x="193" y="211"/>
                  </a:cubicBezTo>
                  <a:cubicBezTo>
                    <a:pt x="226" y="211"/>
                    <a:pt x="254" y="217"/>
                    <a:pt x="279" y="228"/>
                  </a:cubicBezTo>
                  <a:cubicBezTo>
                    <a:pt x="304" y="240"/>
                    <a:pt x="325" y="256"/>
                    <a:pt x="343" y="276"/>
                  </a:cubicBezTo>
                  <a:cubicBezTo>
                    <a:pt x="360" y="297"/>
                    <a:pt x="373" y="322"/>
                    <a:pt x="382" y="351"/>
                  </a:cubicBezTo>
                  <a:cubicBezTo>
                    <a:pt x="391" y="379"/>
                    <a:pt x="395" y="411"/>
                    <a:pt x="395" y="446"/>
                  </a:cubicBezTo>
                  <a:cubicBezTo>
                    <a:pt x="395" y="482"/>
                    <a:pt x="390" y="515"/>
                    <a:pt x="379" y="544"/>
                  </a:cubicBezTo>
                  <a:cubicBezTo>
                    <a:pt x="369" y="573"/>
                    <a:pt x="354" y="597"/>
                    <a:pt x="334" y="617"/>
                  </a:cubicBezTo>
                  <a:cubicBezTo>
                    <a:pt x="315" y="638"/>
                    <a:pt x="291" y="653"/>
                    <a:pt x="263" y="664"/>
                  </a:cubicBezTo>
                  <a:cubicBezTo>
                    <a:pt x="236" y="675"/>
                    <a:pt x="205" y="680"/>
                    <a:pt x="170" y="680"/>
                  </a:cubicBezTo>
                  <a:cubicBezTo>
                    <a:pt x="133" y="680"/>
                    <a:pt x="100" y="678"/>
                    <a:pt x="71" y="673"/>
                  </a:cubicBezTo>
                  <a:cubicBezTo>
                    <a:pt x="42" y="668"/>
                    <a:pt x="18" y="662"/>
                    <a:pt x="0" y="65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80" y="0"/>
                    <a:pt x="80" y="0"/>
                    <a:pt x="80" y="0"/>
                  </a:cubicBezTo>
                  <a:lnTo>
                    <a:pt x="80" y="241"/>
                  </a:lnTo>
                  <a:close/>
                  <a:moveTo>
                    <a:pt x="80" y="600"/>
                  </a:moveTo>
                  <a:cubicBezTo>
                    <a:pt x="88" y="602"/>
                    <a:pt x="100" y="605"/>
                    <a:pt x="114" y="607"/>
                  </a:cubicBezTo>
                  <a:cubicBezTo>
                    <a:pt x="129" y="609"/>
                    <a:pt x="147" y="610"/>
                    <a:pt x="169" y="610"/>
                  </a:cubicBezTo>
                  <a:cubicBezTo>
                    <a:pt x="212" y="610"/>
                    <a:pt x="247" y="595"/>
                    <a:pt x="273" y="567"/>
                  </a:cubicBezTo>
                  <a:cubicBezTo>
                    <a:pt x="299" y="538"/>
                    <a:pt x="312" y="498"/>
                    <a:pt x="312" y="446"/>
                  </a:cubicBezTo>
                  <a:cubicBezTo>
                    <a:pt x="312" y="423"/>
                    <a:pt x="309" y="401"/>
                    <a:pt x="305" y="381"/>
                  </a:cubicBezTo>
                  <a:cubicBezTo>
                    <a:pt x="300" y="361"/>
                    <a:pt x="293" y="343"/>
                    <a:pt x="282" y="329"/>
                  </a:cubicBezTo>
                  <a:cubicBezTo>
                    <a:pt x="272" y="314"/>
                    <a:pt x="259" y="302"/>
                    <a:pt x="242" y="294"/>
                  </a:cubicBezTo>
                  <a:cubicBezTo>
                    <a:pt x="226" y="286"/>
                    <a:pt x="206" y="282"/>
                    <a:pt x="183" y="282"/>
                  </a:cubicBezTo>
                  <a:cubicBezTo>
                    <a:pt x="161" y="282"/>
                    <a:pt x="141" y="285"/>
                    <a:pt x="123" y="293"/>
                  </a:cubicBezTo>
                  <a:cubicBezTo>
                    <a:pt x="104" y="300"/>
                    <a:pt x="90" y="308"/>
                    <a:pt x="80" y="316"/>
                  </a:cubicBezTo>
                  <a:cubicBezTo>
                    <a:pt x="80" y="600"/>
                    <a:pt x="80" y="600"/>
                    <a:pt x="80" y="6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14" name="Freeform 43"/>
            <p:cNvSpPr>
              <a:spLocks/>
            </p:cNvSpPr>
            <p:nvPr/>
          </p:nvSpPr>
          <p:spPr bwMode="auto">
            <a:xfrm>
              <a:off x="3228976" y="6216650"/>
              <a:ext cx="222250" cy="282575"/>
            </a:xfrm>
            <a:custGeom>
              <a:avLst/>
              <a:gdLst>
                <a:gd name="T0" fmla="*/ 362 w 362"/>
                <a:gd name="T1" fmla="*/ 436 h 459"/>
                <a:gd name="T2" fmla="*/ 290 w 362"/>
                <a:gd name="T3" fmla="*/ 451 h 459"/>
                <a:gd name="T4" fmla="*/ 185 w 362"/>
                <a:gd name="T5" fmla="*/ 459 h 459"/>
                <a:gd name="T6" fmla="*/ 97 w 362"/>
                <a:gd name="T7" fmla="*/ 444 h 459"/>
                <a:gd name="T8" fmla="*/ 40 w 362"/>
                <a:gd name="T9" fmla="*/ 401 h 459"/>
                <a:gd name="T10" fmla="*/ 9 w 362"/>
                <a:gd name="T11" fmla="*/ 336 h 459"/>
                <a:gd name="T12" fmla="*/ 0 w 362"/>
                <a:gd name="T13" fmla="*/ 252 h 459"/>
                <a:gd name="T14" fmla="*/ 0 w 362"/>
                <a:gd name="T15" fmla="*/ 0 h 459"/>
                <a:gd name="T16" fmla="*/ 80 w 362"/>
                <a:gd name="T17" fmla="*/ 0 h 459"/>
                <a:gd name="T18" fmla="*/ 80 w 362"/>
                <a:gd name="T19" fmla="*/ 235 h 459"/>
                <a:gd name="T20" fmla="*/ 106 w 362"/>
                <a:gd name="T21" fmla="*/ 352 h 459"/>
                <a:gd name="T22" fmla="*/ 193 w 362"/>
                <a:gd name="T23" fmla="*/ 388 h 459"/>
                <a:gd name="T24" fmla="*/ 220 w 362"/>
                <a:gd name="T25" fmla="*/ 387 h 459"/>
                <a:gd name="T26" fmla="*/ 246 w 362"/>
                <a:gd name="T27" fmla="*/ 385 h 459"/>
                <a:gd name="T28" fmla="*/ 268 w 362"/>
                <a:gd name="T29" fmla="*/ 382 h 459"/>
                <a:gd name="T30" fmla="*/ 282 w 362"/>
                <a:gd name="T31" fmla="*/ 379 h 459"/>
                <a:gd name="T32" fmla="*/ 282 w 362"/>
                <a:gd name="T33" fmla="*/ 0 h 459"/>
                <a:gd name="T34" fmla="*/ 362 w 362"/>
                <a:gd name="T35" fmla="*/ 0 h 459"/>
                <a:gd name="T36" fmla="*/ 362 w 362"/>
                <a:gd name="T37" fmla="*/ 436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2" h="459">
                  <a:moveTo>
                    <a:pt x="362" y="436"/>
                  </a:moveTo>
                  <a:cubicBezTo>
                    <a:pt x="344" y="441"/>
                    <a:pt x="320" y="446"/>
                    <a:pt x="290" y="451"/>
                  </a:cubicBezTo>
                  <a:cubicBezTo>
                    <a:pt x="259" y="456"/>
                    <a:pt x="224" y="459"/>
                    <a:pt x="185" y="459"/>
                  </a:cubicBezTo>
                  <a:cubicBezTo>
                    <a:pt x="150" y="459"/>
                    <a:pt x="121" y="454"/>
                    <a:pt x="97" y="444"/>
                  </a:cubicBezTo>
                  <a:cubicBezTo>
                    <a:pt x="74" y="433"/>
                    <a:pt x="55" y="419"/>
                    <a:pt x="40" y="401"/>
                  </a:cubicBezTo>
                  <a:cubicBezTo>
                    <a:pt x="26" y="382"/>
                    <a:pt x="16" y="361"/>
                    <a:pt x="9" y="336"/>
                  </a:cubicBezTo>
                  <a:cubicBezTo>
                    <a:pt x="3" y="311"/>
                    <a:pt x="0" y="283"/>
                    <a:pt x="0" y="25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235"/>
                    <a:pt x="80" y="235"/>
                    <a:pt x="80" y="235"/>
                  </a:cubicBezTo>
                  <a:cubicBezTo>
                    <a:pt x="80" y="290"/>
                    <a:pt x="89" y="329"/>
                    <a:pt x="106" y="352"/>
                  </a:cubicBezTo>
                  <a:cubicBezTo>
                    <a:pt x="123" y="376"/>
                    <a:pt x="152" y="388"/>
                    <a:pt x="193" y="388"/>
                  </a:cubicBezTo>
                  <a:cubicBezTo>
                    <a:pt x="202" y="388"/>
                    <a:pt x="211" y="388"/>
                    <a:pt x="220" y="387"/>
                  </a:cubicBezTo>
                  <a:cubicBezTo>
                    <a:pt x="229" y="386"/>
                    <a:pt x="238" y="386"/>
                    <a:pt x="246" y="385"/>
                  </a:cubicBezTo>
                  <a:cubicBezTo>
                    <a:pt x="254" y="384"/>
                    <a:pt x="261" y="383"/>
                    <a:pt x="268" y="382"/>
                  </a:cubicBezTo>
                  <a:cubicBezTo>
                    <a:pt x="275" y="381"/>
                    <a:pt x="279" y="380"/>
                    <a:pt x="282" y="379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362" y="436"/>
                    <a:pt x="362" y="436"/>
                    <a:pt x="362" y="4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15" name="Freeform 44"/>
            <p:cNvSpPr>
              <a:spLocks/>
            </p:cNvSpPr>
            <p:nvPr/>
          </p:nvSpPr>
          <p:spPr bwMode="auto">
            <a:xfrm>
              <a:off x="3521076" y="6211888"/>
              <a:ext cx="222250" cy="280987"/>
            </a:xfrm>
            <a:custGeom>
              <a:avLst/>
              <a:gdLst>
                <a:gd name="T0" fmla="*/ 0 w 363"/>
                <a:gd name="T1" fmla="*/ 22 h 458"/>
                <a:gd name="T2" fmla="*/ 74 w 363"/>
                <a:gd name="T3" fmla="*/ 7 h 458"/>
                <a:gd name="T4" fmla="*/ 179 w 363"/>
                <a:gd name="T5" fmla="*/ 0 h 458"/>
                <a:gd name="T6" fmla="*/ 268 w 363"/>
                <a:gd name="T7" fmla="*/ 15 h 458"/>
                <a:gd name="T8" fmla="*/ 324 w 363"/>
                <a:gd name="T9" fmla="*/ 57 h 458"/>
                <a:gd name="T10" fmla="*/ 354 w 363"/>
                <a:gd name="T11" fmla="*/ 122 h 458"/>
                <a:gd name="T12" fmla="*/ 363 w 363"/>
                <a:gd name="T13" fmla="*/ 206 h 458"/>
                <a:gd name="T14" fmla="*/ 363 w 363"/>
                <a:gd name="T15" fmla="*/ 458 h 458"/>
                <a:gd name="T16" fmla="*/ 282 w 363"/>
                <a:gd name="T17" fmla="*/ 458 h 458"/>
                <a:gd name="T18" fmla="*/ 282 w 363"/>
                <a:gd name="T19" fmla="*/ 223 h 458"/>
                <a:gd name="T20" fmla="*/ 277 w 363"/>
                <a:gd name="T21" fmla="*/ 152 h 458"/>
                <a:gd name="T22" fmla="*/ 258 w 363"/>
                <a:gd name="T23" fmla="*/ 105 h 458"/>
                <a:gd name="T24" fmla="*/ 224 w 363"/>
                <a:gd name="T25" fmla="*/ 79 h 458"/>
                <a:gd name="T26" fmla="*/ 170 w 363"/>
                <a:gd name="T27" fmla="*/ 70 h 458"/>
                <a:gd name="T28" fmla="*/ 143 w 363"/>
                <a:gd name="T29" fmla="*/ 71 h 458"/>
                <a:gd name="T30" fmla="*/ 117 w 363"/>
                <a:gd name="T31" fmla="*/ 74 h 458"/>
                <a:gd name="T32" fmla="*/ 95 w 363"/>
                <a:gd name="T33" fmla="*/ 77 h 458"/>
                <a:gd name="T34" fmla="*/ 80 w 363"/>
                <a:gd name="T35" fmla="*/ 79 h 458"/>
                <a:gd name="T36" fmla="*/ 80 w 363"/>
                <a:gd name="T37" fmla="*/ 458 h 458"/>
                <a:gd name="T38" fmla="*/ 0 w 363"/>
                <a:gd name="T39" fmla="*/ 458 h 458"/>
                <a:gd name="T40" fmla="*/ 0 w 363"/>
                <a:gd name="T41" fmla="*/ 22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3" h="458">
                  <a:moveTo>
                    <a:pt x="0" y="22"/>
                  </a:moveTo>
                  <a:cubicBezTo>
                    <a:pt x="19" y="18"/>
                    <a:pt x="43" y="13"/>
                    <a:pt x="74" y="7"/>
                  </a:cubicBezTo>
                  <a:cubicBezTo>
                    <a:pt x="104" y="2"/>
                    <a:pt x="139" y="0"/>
                    <a:pt x="179" y="0"/>
                  </a:cubicBezTo>
                  <a:cubicBezTo>
                    <a:pt x="215" y="0"/>
                    <a:pt x="244" y="5"/>
                    <a:pt x="268" y="15"/>
                  </a:cubicBezTo>
                  <a:cubicBezTo>
                    <a:pt x="291" y="25"/>
                    <a:pt x="310" y="39"/>
                    <a:pt x="324" y="57"/>
                  </a:cubicBezTo>
                  <a:cubicBezTo>
                    <a:pt x="338" y="75"/>
                    <a:pt x="348" y="97"/>
                    <a:pt x="354" y="122"/>
                  </a:cubicBezTo>
                  <a:cubicBezTo>
                    <a:pt x="360" y="148"/>
                    <a:pt x="363" y="176"/>
                    <a:pt x="363" y="206"/>
                  </a:cubicBezTo>
                  <a:cubicBezTo>
                    <a:pt x="363" y="458"/>
                    <a:pt x="363" y="458"/>
                    <a:pt x="363" y="458"/>
                  </a:cubicBezTo>
                  <a:cubicBezTo>
                    <a:pt x="282" y="458"/>
                    <a:pt x="282" y="458"/>
                    <a:pt x="282" y="458"/>
                  </a:cubicBezTo>
                  <a:cubicBezTo>
                    <a:pt x="282" y="223"/>
                    <a:pt x="282" y="223"/>
                    <a:pt x="282" y="223"/>
                  </a:cubicBezTo>
                  <a:cubicBezTo>
                    <a:pt x="282" y="196"/>
                    <a:pt x="281" y="172"/>
                    <a:pt x="277" y="152"/>
                  </a:cubicBezTo>
                  <a:cubicBezTo>
                    <a:pt x="273" y="133"/>
                    <a:pt x="267" y="117"/>
                    <a:pt x="258" y="105"/>
                  </a:cubicBezTo>
                  <a:cubicBezTo>
                    <a:pt x="250" y="93"/>
                    <a:pt x="238" y="84"/>
                    <a:pt x="224" y="79"/>
                  </a:cubicBezTo>
                  <a:cubicBezTo>
                    <a:pt x="209" y="73"/>
                    <a:pt x="191" y="70"/>
                    <a:pt x="170" y="70"/>
                  </a:cubicBezTo>
                  <a:cubicBezTo>
                    <a:pt x="162" y="70"/>
                    <a:pt x="153" y="71"/>
                    <a:pt x="143" y="71"/>
                  </a:cubicBezTo>
                  <a:cubicBezTo>
                    <a:pt x="134" y="72"/>
                    <a:pt x="125" y="73"/>
                    <a:pt x="117" y="74"/>
                  </a:cubicBezTo>
                  <a:cubicBezTo>
                    <a:pt x="109" y="74"/>
                    <a:pt x="101" y="75"/>
                    <a:pt x="95" y="77"/>
                  </a:cubicBezTo>
                  <a:cubicBezTo>
                    <a:pt x="88" y="78"/>
                    <a:pt x="83" y="79"/>
                    <a:pt x="80" y="79"/>
                  </a:cubicBezTo>
                  <a:cubicBezTo>
                    <a:pt x="80" y="458"/>
                    <a:pt x="80" y="458"/>
                    <a:pt x="80" y="458"/>
                  </a:cubicBezTo>
                  <a:cubicBezTo>
                    <a:pt x="0" y="458"/>
                    <a:pt x="0" y="458"/>
                    <a:pt x="0" y="458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 dirty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16" name="Freeform 45"/>
            <p:cNvSpPr>
              <a:spLocks/>
            </p:cNvSpPr>
            <p:nvPr/>
          </p:nvSpPr>
          <p:spPr bwMode="auto">
            <a:xfrm>
              <a:off x="3806826" y="6132513"/>
              <a:ext cx="165100" cy="366712"/>
            </a:xfrm>
            <a:custGeom>
              <a:avLst/>
              <a:gdLst>
                <a:gd name="T0" fmla="*/ 80 w 269"/>
                <a:gd name="T1" fmla="*/ 139 h 598"/>
                <a:gd name="T2" fmla="*/ 250 w 269"/>
                <a:gd name="T3" fmla="*/ 139 h 598"/>
                <a:gd name="T4" fmla="*/ 250 w 269"/>
                <a:gd name="T5" fmla="*/ 207 h 598"/>
                <a:gd name="T6" fmla="*/ 80 w 269"/>
                <a:gd name="T7" fmla="*/ 207 h 598"/>
                <a:gd name="T8" fmla="*/ 80 w 269"/>
                <a:gd name="T9" fmla="*/ 414 h 598"/>
                <a:gd name="T10" fmla="*/ 86 w 269"/>
                <a:gd name="T11" fmla="*/ 469 h 598"/>
                <a:gd name="T12" fmla="*/ 101 w 269"/>
                <a:gd name="T13" fmla="*/ 504 h 598"/>
                <a:gd name="T14" fmla="*/ 127 w 269"/>
                <a:gd name="T15" fmla="*/ 522 h 598"/>
                <a:gd name="T16" fmla="*/ 163 w 269"/>
                <a:gd name="T17" fmla="*/ 527 h 598"/>
                <a:gd name="T18" fmla="*/ 222 w 269"/>
                <a:gd name="T19" fmla="*/ 519 h 598"/>
                <a:gd name="T20" fmla="*/ 251 w 269"/>
                <a:gd name="T21" fmla="*/ 507 h 598"/>
                <a:gd name="T22" fmla="*/ 269 w 269"/>
                <a:gd name="T23" fmla="*/ 573 h 598"/>
                <a:gd name="T24" fmla="*/ 226 w 269"/>
                <a:gd name="T25" fmla="*/ 588 h 598"/>
                <a:gd name="T26" fmla="*/ 156 w 269"/>
                <a:gd name="T27" fmla="*/ 598 h 598"/>
                <a:gd name="T28" fmla="*/ 81 w 269"/>
                <a:gd name="T29" fmla="*/ 586 h 598"/>
                <a:gd name="T30" fmla="*/ 33 w 269"/>
                <a:gd name="T31" fmla="*/ 551 h 598"/>
                <a:gd name="T32" fmla="*/ 7 w 269"/>
                <a:gd name="T33" fmla="*/ 494 h 598"/>
                <a:gd name="T34" fmla="*/ 0 w 269"/>
                <a:gd name="T35" fmla="*/ 415 h 598"/>
                <a:gd name="T36" fmla="*/ 0 w 269"/>
                <a:gd name="T37" fmla="*/ 14 h 598"/>
                <a:gd name="T38" fmla="*/ 80 w 269"/>
                <a:gd name="T39" fmla="*/ 0 h 598"/>
                <a:gd name="T40" fmla="*/ 80 w 269"/>
                <a:gd name="T41" fmla="*/ 139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9" h="598">
                  <a:moveTo>
                    <a:pt x="80" y="139"/>
                  </a:moveTo>
                  <a:cubicBezTo>
                    <a:pt x="250" y="139"/>
                    <a:pt x="250" y="139"/>
                    <a:pt x="250" y="139"/>
                  </a:cubicBezTo>
                  <a:cubicBezTo>
                    <a:pt x="250" y="207"/>
                    <a:pt x="250" y="207"/>
                    <a:pt x="250" y="207"/>
                  </a:cubicBezTo>
                  <a:cubicBezTo>
                    <a:pt x="80" y="207"/>
                    <a:pt x="80" y="207"/>
                    <a:pt x="80" y="207"/>
                  </a:cubicBezTo>
                  <a:cubicBezTo>
                    <a:pt x="80" y="414"/>
                    <a:pt x="80" y="414"/>
                    <a:pt x="80" y="414"/>
                  </a:cubicBezTo>
                  <a:cubicBezTo>
                    <a:pt x="80" y="436"/>
                    <a:pt x="82" y="455"/>
                    <a:pt x="86" y="469"/>
                  </a:cubicBezTo>
                  <a:cubicBezTo>
                    <a:pt x="89" y="484"/>
                    <a:pt x="94" y="496"/>
                    <a:pt x="101" y="504"/>
                  </a:cubicBezTo>
                  <a:cubicBezTo>
                    <a:pt x="108" y="512"/>
                    <a:pt x="117" y="518"/>
                    <a:pt x="127" y="522"/>
                  </a:cubicBezTo>
                  <a:cubicBezTo>
                    <a:pt x="137" y="525"/>
                    <a:pt x="149" y="527"/>
                    <a:pt x="163" y="527"/>
                  </a:cubicBezTo>
                  <a:cubicBezTo>
                    <a:pt x="188" y="527"/>
                    <a:pt x="208" y="524"/>
                    <a:pt x="222" y="519"/>
                  </a:cubicBezTo>
                  <a:cubicBezTo>
                    <a:pt x="236" y="513"/>
                    <a:pt x="246" y="509"/>
                    <a:pt x="251" y="507"/>
                  </a:cubicBezTo>
                  <a:cubicBezTo>
                    <a:pt x="269" y="573"/>
                    <a:pt x="269" y="573"/>
                    <a:pt x="269" y="573"/>
                  </a:cubicBezTo>
                  <a:cubicBezTo>
                    <a:pt x="260" y="577"/>
                    <a:pt x="246" y="582"/>
                    <a:pt x="226" y="588"/>
                  </a:cubicBezTo>
                  <a:cubicBezTo>
                    <a:pt x="205" y="594"/>
                    <a:pt x="182" y="598"/>
                    <a:pt x="156" y="598"/>
                  </a:cubicBezTo>
                  <a:cubicBezTo>
                    <a:pt x="126" y="598"/>
                    <a:pt x="101" y="594"/>
                    <a:pt x="81" y="586"/>
                  </a:cubicBezTo>
                  <a:cubicBezTo>
                    <a:pt x="61" y="578"/>
                    <a:pt x="45" y="567"/>
                    <a:pt x="33" y="551"/>
                  </a:cubicBezTo>
                  <a:cubicBezTo>
                    <a:pt x="21" y="535"/>
                    <a:pt x="12" y="516"/>
                    <a:pt x="7" y="494"/>
                  </a:cubicBezTo>
                  <a:cubicBezTo>
                    <a:pt x="2" y="471"/>
                    <a:pt x="0" y="445"/>
                    <a:pt x="0" y="41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139"/>
                    <a:pt x="80" y="139"/>
                    <a:pt x="80" y="1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17" name="Freeform 46"/>
            <p:cNvSpPr>
              <a:spLocks/>
            </p:cNvSpPr>
            <p:nvPr/>
          </p:nvSpPr>
          <p:spPr bwMode="auto">
            <a:xfrm>
              <a:off x="4005263" y="6216650"/>
              <a:ext cx="222250" cy="282575"/>
            </a:xfrm>
            <a:custGeom>
              <a:avLst/>
              <a:gdLst>
                <a:gd name="T0" fmla="*/ 362 w 362"/>
                <a:gd name="T1" fmla="*/ 436 h 459"/>
                <a:gd name="T2" fmla="*/ 289 w 362"/>
                <a:gd name="T3" fmla="*/ 451 h 459"/>
                <a:gd name="T4" fmla="*/ 184 w 362"/>
                <a:gd name="T5" fmla="*/ 459 h 459"/>
                <a:gd name="T6" fmla="*/ 97 w 362"/>
                <a:gd name="T7" fmla="*/ 444 h 459"/>
                <a:gd name="T8" fmla="*/ 40 w 362"/>
                <a:gd name="T9" fmla="*/ 401 h 459"/>
                <a:gd name="T10" fmla="*/ 9 w 362"/>
                <a:gd name="T11" fmla="*/ 336 h 459"/>
                <a:gd name="T12" fmla="*/ 0 w 362"/>
                <a:gd name="T13" fmla="*/ 252 h 459"/>
                <a:gd name="T14" fmla="*/ 0 w 362"/>
                <a:gd name="T15" fmla="*/ 0 h 459"/>
                <a:gd name="T16" fmla="*/ 80 w 362"/>
                <a:gd name="T17" fmla="*/ 0 h 459"/>
                <a:gd name="T18" fmla="*/ 80 w 362"/>
                <a:gd name="T19" fmla="*/ 235 h 459"/>
                <a:gd name="T20" fmla="*/ 106 w 362"/>
                <a:gd name="T21" fmla="*/ 352 h 459"/>
                <a:gd name="T22" fmla="*/ 193 w 362"/>
                <a:gd name="T23" fmla="*/ 388 h 459"/>
                <a:gd name="T24" fmla="*/ 220 w 362"/>
                <a:gd name="T25" fmla="*/ 387 h 459"/>
                <a:gd name="T26" fmla="*/ 246 w 362"/>
                <a:gd name="T27" fmla="*/ 385 h 459"/>
                <a:gd name="T28" fmla="*/ 268 w 362"/>
                <a:gd name="T29" fmla="*/ 382 h 459"/>
                <a:gd name="T30" fmla="*/ 282 w 362"/>
                <a:gd name="T31" fmla="*/ 379 h 459"/>
                <a:gd name="T32" fmla="*/ 282 w 362"/>
                <a:gd name="T33" fmla="*/ 0 h 459"/>
                <a:gd name="T34" fmla="*/ 362 w 362"/>
                <a:gd name="T35" fmla="*/ 0 h 459"/>
                <a:gd name="T36" fmla="*/ 362 w 362"/>
                <a:gd name="T37" fmla="*/ 436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2" h="459">
                  <a:moveTo>
                    <a:pt x="362" y="436"/>
                  </a:moveTo>
                  <a:cubicBezTo>
                    <a:pt x="344" y="441"/>
                    <a:pt x="320" y="446"/>
                    <a:pt x="289" y="451"/>
                  </a:cubicBezTo>
                  <a:cubicBezTo>
                    <a:pt x="259" y="456"/>
                    <a:pt x="224" y="459"/>
                    <a:pt x="184" y="459"/>
                  </a:cubicBezTo>
                  <a:cubicBezTo>
                    <a:pt x="150" y="459"/>
                    <a:pt x="121" y="454"/>
                    <a:pt x="97" y="444"/>
                  </a:cubicBezTo>
                  <a:cubicBezTo>
                    <a:pt x="74" y="433"/>
                    <a:pt x="55" y="419"/>
                    <a:pt x="40" y="401"/>
                  </a:cubicBezTo>
                  <a:cubicBezTo>
                    <a:pt x="26" y="382"/>
                    <a:pt x="15" y="361"/>
                    <a:pt x="9" y="336"/>
                  </a:cubicBezTo>
                  <a:cubicBezTo>
                    <a:pt x="3" y="311"/>
                    <a:pt x="0" y="283"/>
                    <a:pt x="0" y="25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235"/>
                    <a:pt x="80" y="235"/>
                    <a:pt x="80" y="235"/>
                  </a:cubicBezTo>
                  <a:cubicBezTo>
                    <a:pt x="80" y="290"/>
                    <a:pt x="89" y="329"/>
                    <a:pt x="106" y="352"/>
                  </a:cubicBezTo>
                  <a:cubicBezTo>
                    <a:pt x="123" y="376"/>
                    <a:pt x="152" y="388"/>
                    <a:pt x="193" y="388"/>
                  </a:cubicBezTo>
                  <a:cubicBezTo>
                    <a:pt x="202" y="388"/>
                    <a:pt x="211" y="388"/>
                    <a:pt x="220" y="387"/>
                  </a:cubicBezTo>
                  <a:cubicBezTo>
                    <a:pt x="229" y="386"/>
                    <a:pt x="238" y="386"/>
                    <a:pt x="246" y="385"/>
                  </a:cubicBezTo>
                  <a:cubicBezTo>
                    <a:pt x="254" y="384"/>
                    <a:pt x="261" y="383"/>
                    <a:pt x="268" y="382"/>
                  </a:cubicBezTo>
                  <a:cubicBezTo>
                    <a:pt x="274" y="381"/>
                    <a:pt x="279" y="380"/>
                    <a:pt x="282" y="379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362" y="436"/>
                    <a:pt x="362" y="436"/>
                    <a:pt x="362" y="4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4513915" y="3747069"/>
            <a:ext cx="1888584" cy="607500"/>
            <a:chOff x="2880656" y="5494318"/>
            <a:chExt cx="1888852" cy="607587"/>
          </a:xfrm>
        </p:grpSpPr>
        <p:grpSp>
          <p:nvGrpSpPr>
            <p:cNvPr id="119" name="Group 118"/>
            <p:cNvGrpSpPr/>
            <p:nvPr/>
          </p:nvGrpSpPr>
          <p:grpSpPr>
            <a:xfrm>
              <a:off x="2880656" y="5494318"/>
              <a:ext cx="621131" cy="607587"/>
              <a:chOff x="2880656" y="5494318"/>
              <a:chExt cx="621131" cy="607587"/>
            </a:xfrm>
          </p:grpSpPr>
          <p:sp>
            <p:nvSpPr>
              <p:cNvPr id="129" name="Freeform 53"/>
              <p:cNvSpPr>
                <a:spLocks noEditPoints="1"/>
              </p:cNvSpPr>
              <p:nvPr/>
            </p:nvSpPr>
            <p:spPr bwMode="auto">
              <a:xfrm>
                <a:off x="2880656" y="5498401"/>
                <a:ext cx="605858" cy="60350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grpSp>
            <p:nvGrpSpPr>
              <p:cNvPr id="130" name="Group 129"/>
              <p:cNvGrpSpPr/>
              <p:nvPr/>
            </p:nvGrpSpPr>
            <p:grpSpPr>
              <a:xfrm>
                <a:off x="2880656" y="5494318"/>
                <a:ext cx="621131" cy="549854"/>
                <a:chOff x="2664209" y="5494318"/>
                <a:chExt cx="621131" cy="549854"/>
              </a:xfrm>
              <a:solidFill>
                <a:srgbClr val="002050"/>
              </a:solidFill>
            </p:grpSpPr>
            <p:sp>
              <p:nvSpPr>
                <p:cNvPr id="131" name="Freeform 50"/>
                <p:cNvSpPr>
                  <a:spLocks/>
                </p:cNvSpPr>
                <p:nvPr/>
              </p:nvSpPr>
              <p:spPr bwMode="auto">
                <a:xfrm>
                  <a:off x="2982413" y="5939802"/>
                  <a:ext cx="56004" cy="30547"/>
                </a:xfrm>
                <a:custGeom>
                  <a:avLst/>
                  <a:gdLst>
                    <a:gd name="T0" fmla="*/ 10 w 11"/>
                    <a:gd name="T1" fmla="*/ 0 h 6"/>
                    <a:gd name="T2" fmla="*/ 11 w 11"/>
                    <a:gd name="T3" fmla="*/ 3 h 6"/>
                    <a:gd name="T4" fmla="*/ 9 w 11"/>
                    <a:gd name="T5" fmla="*/ 5 h 6"/>
                    <a:gd name="T6" fmla="*/ 4 w 11"/>
                    <a:gd name="T7" fmla="*/ 5 h 6"/>
                    <a:gd name="T8" fmla="*/ 2 w 11"/>
                    <a:gd name="T9" fmla="*/ 4 h 6"/>
                    <a:gd name="T10" fmla="*/ 0 w 11"/>
                    <a:gd name="T11" fmla="*/ 2 h 6"/>
                    <a:gd name="T12" fmla="*/ 5 w 11"/>
                    <a:gd name="T13" fmla="*/ 1 h 6"/>
                    <a:gd name="T14" fmla="*/ 8 w 11"/>
                    <a:gd name="T15" fmla="*/ 2 h 6"/>
                    <a:gd name="T16" fmla="*/ 10 w 11"/>
                    <a:gd name="T17" fmla="*/ 0 h 6"/>
                    <a:gd name="T18" fmla="*/ 10 w 11"/>
                    <a:gd name="T19" fmla="*/ 0 h 6"/>
                    <a:gd name="T20" fmla="*/ 10 w 11"/>
                    <a:gd name="T21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" h="6">
                      <a:moveTo>
                        <a:pt x="10" y="0"/>
                      </a:moveTo>
                      <a:cubicBezTo>
                        <a:pt x="11" y="1"/>
                        <a:pt x="11" y="2"/>
                        <a:pt x="11" y="3"/>
                      </a:cubicBezTo>
                      <a:cubicBezTo>
                        <a:pt x="10" y="4"/>
                        <a:pt x="10" y="4"/>
                        <a:pt x="9" y="5"/>
                      </a:cubicBezTo>
                      <a:cubicBezTo>
                        <a:pt x="8" y="5"/>
                        <a:pt x="7" y="6"/>
                        <a:pt x="4" y="5"/>
                      </a:cubicBezTo>
                      <a:cubicBezTo>
                        <a:pt x="3" y="4"/>
                        <a:pt x="3" y="4"/>
                        <a:pt x="2" y="4"/>
                      </a:cubicBezTo>
                      <a:cubicBezTo>
                        <a:pt x="0" y="4"/>
                        <a:pt x="0" y="3"/>
                        <a:pt x="0" y="2"/>
                      </a:cubicBezTo>
                      <a:cubicBezTo>
                        <a:pt x="1" y="1"/>
                        <a:pt x="2" y="0"/>
                        <a:pt x="5" y="1"/>
                      </a:cubicBezTo>
                      <a:cubicBezTo>
                        <a:pt x="6" y="2"/>
                        <a:pt x="7" y="3"/>
                        <a:pt x="8" y="2"/>
                      </a:cubicBezTo>
                      <a:cubicBezTo>
                        <a:pt x="9" y="2"/>
                        <a:pt x="9" y="1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kern="0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132" name="Freeform 51"/>
                <p:cNvSpPr>
                  <a:spLocks/>
                </p:cNvSpPr>
                <p:nvPr/>
              </p:nvSpPr>
              <p:spPr bwMode="auto">
                <a:xfrm>
                  <a:off x="2982413" y="5573233"/>
                  <a:ext cx="76369" cy="30547"/>
                </a:xfrm>
                <a:custGeom>
                  <a:avLst/>
                  <a:gdLst>
                    <a:gd name="T0" fmla="*/ 8 w 15"/>
                    <a:gd name="T1" fmla="*/ 0 h 6"/>
                    <a:gd name="T2" fmla="*/ 7 w 15"/>
                    <a:gd name="T3" fmla="*/ 0 h 6"/>
                    <a:gd name="T4" fmla="*/ 5 w 15"/>
                    <a:gd name="T5" fmla="*/ 0 h 6"/>
                    <a:gd name="T6" fmla="*/ 0 w 15"/>
                    <a:gd name="T7" fmla="*/ 1 h 6"/>
                    <a:gd name="T8" fmla="*/ 0 w 15"/>
                    <a:gd name="T9" fmla="*/ 1 h 6"/>
                    <a:gd name="T10" fmla="*/ 0 w 15"/>
                    <a:gd name="T11" fmla="*/ 1 h 6"/>
                    <a:gd name="T12" fmla="*/ 0 w 15"/>
                    <a:gd name="T13" fmla="*/ 1 h 6"/>
                    <a:gd name="T14" fmla="*/ 1 w 15"/>
                    <a:gd name="T15" fmla="*/ 1 h 6"/>
                    <a:gd name="T16" fmla="*/ 8 w 15"/>
                    <a:gd name="T17" fmla="*/ 3 h 6"/>
                    <a:gd name="T18" fmla="*/ 4 w 15"/>
                    <a:gd name="T19" fmla="*/ 5 h 6"/>
                    <a:gd name="T20" fmla="*/ 4 w 15"/>
                    <a:gd name="T21" fmla="*/ 5 h 6"/>
                    <a:gd name="T22" fmla="*/ 4 w 15"/>
                    <a:gd name="T23" fmla="*/ 5 h 6"/>
                    <a:gd name="T24" fmla="*/ 8 w 15"/>
                    <a:gd name="T25" fmla="*/ 6 h 6"/>
                    <a:gd name="T26" fmla="*/ 14 w 15"/>
                    <a:gd name="T27" fmla="*/ 3 h 6"/>
                    <a:gd name="T28" fmla="*/ 8 w 15"/>
                    <a:gd name="T2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" h="6">
                      <a:moveTo>
                        <a:pt x="8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6" y="0"/>
                        <a:pt x="5" y="0"/>
                      </a:cubicBezTo>
                      <a:cubicBezTo>
                        <a:pt x="3" y="0"/>
                        <a:pt x="1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5" y="1"/>
                        <a:pt x="8" y="2"/>
                        <a:pt x="8" y="3"/>
                      </a:cubicBezTo>
                      <a:cubicBezTo>
                        <a:pt x="8" y="4"/>
                        <a:pt x="7" y="4"/>
                        <a:pt x="4" y="5"/>
                      </a:cubicBezTo>
                      <a:cubicBezTo>
                        <a:pt x="4" y="5"/>
                        <a:pt x="4" y="5"/>
                        <a:pt x="4" y="5"/>
                      </a:cubicBezTo>
                      <a:cubicBezTo>
                        <a:pt x="4" y="5"/>
                        <a:pt x="4" y="5"/>
                        <a:pt x="4" y="5"/>
                      </a:cubicBezTo>
                      <a:cubicBezTo>
                        <a:pt x="5" y="6"/>
                        <a:pt x="6" y="6"/>
                        <a:pt x="8" y="6"/>
                      </a:cubicBezTo>
                      <a:cubicBezTo>
                        <a:pt x="11" y="6"/>
                        <a:pt x="14" y="5"/>
                        <a:pt x="14" y="3"/>
                      </a:cubicBezTo>
                      <a:cubicBezTo>
                        <a:pt x="15" y="1"/>
                        <a:pt x="12" y="0"/>
                        <a:pt x="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kern="0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133" name="Freeform 52"/>
                <p:cNvSpPr>
                  <a:spLocks/>
                </p:cNvSpPr>
                <p:nvPr/>
              </p:nvSpPr>
              <p:spPr bwMode="auto">
                <a:xfrm>
                  <a:off x="2865314" y="5603780"/>
                  <a:ext cx="96734" cy="58550"/>
                </a:xfrm>
                <a:custGeom>
                  <a:avLst/>
                  <a:gdLst>
                    <a:gd name="T0" fmla="*/ 14 w 19"/>
                    <a:gd name="T1" fmla="*/ 3 h 11"/>
                    <a:gd name="T2" fmla="*/ 8 w 19"/>
                    <a:gd name="T3" fmla="*/ 3 h 11"/>
                    <a:gd name="T4" fmla="*/ 4 w 19"/>
                    <a:gd name="T5" fmla="*/ 1 h 11"/>
                    <a:gd name="T6" fmla="*/ 1 w 19"/>
                    <a:gd name="T7" fmla="*/ 2 h 11"/>
                    <a:gd name="T8" fmla="*/ 3 w 19"/>
                    <a:gd name="T9" fmla="*/ 7 h 11"/>
                    <a:gd name="T10" fmla="*/ 7 w 19"/>
                    <a:gd name="T11" fmla="*/ 9 h 11"/>
                    <a:gd name="T12" fmla="*/ 16 w 19"/>
                    <a:gd name="T13" fmla="*/ 7 h 11"/>
                    <a:gd name="T14" fmla="*/ 19 w 19"/>
                    <a:gd name="T15" fmla="*/ 5 h 11"/>
                    <a:gd name="T16" fmla="*/ 14 w 19"/>
                    <a:gd name="T17" fmla="*/ 3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" h="11">
                      <a:moveTo>
                        <a:pt x="14" y="3"/>
                      </a:moveTo>
                      <a:cubicBezTo>
                        <a:pt x="11" y="3"/>
                        <a:pt x="9" y="3"/>
                        <a:pt x="8" y="3"/>
                      </a:cubicBezTo>
                      <a:cubicBezTo>
                        <a:pt x="6" y="3"/>
                        <a:pt x="4" y="2"/>
                        <a:pt x="4" y="1"/>
                      </a:cubicBezTo>
                      <a:cubicBezTo>
                        <a:pt x="3" y="1"/>
                        <a:pt x="2" y="0"/>
                        <a:pt x="1" y="2"/>
                      </a:cubicBezTo>
                      <a:cubicBezTo>
                        <a:pt x="0" y="4"/>
                        <a:pt x="1" y="7"/>
                        <a:pt x="3" y="7"/>
                      </a:cubicBezTo>
                      <a:cubicBezTo>
                        <a:pt x="3" y="7"/>
                        <a:pt x="5" y="11"/>
                        <a:pt x="7" y="9"/>
                      </a:cubicBezTo>
                      <a:cubicBezTo>
                        <a:pt x="8" y="8"/>
                        <a:pt x="9" y="7"/>
                        <a:pt x="16" y="7"/>
                      </a:cubicBezTo>
                      <a:cubicBezTo>
                        <a:pt x="19" y="6"/>
                        <a:pt x="19" y="6"/>
                        <a:pt x="19" y="5"/>
                      </a:cubicBezTo>
                      <a:cubicBezTo>
                        <a:pt x="19" y="4"/>
                        <a:pt x="17" y="3"/>
                        <a:pt x="14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kern="0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134" name="Freeform 53"/>
                <p:cNvSpPr>
                  <a:spLocks noEditPoints="1"/>
                </p:cNvSpPr>
                <p:nvPr/>
              </p:nvSpPr>
              <p:spPr bwMode="auto">
                <a:xfrm>
                  <a:off x="2664209" y="5494318"/>
                  <a:ext cx="605858" cy="549854"/>
                </a:xfrm>
                <a:custGeom>
                  <a:avLst/>
                  <a:gdLst>
                    <a:gd name="T0" fmla="*/ 59 w 118"/>
                    <a:gd name="T1" fmla="*/ 0 h 105"/>
                    <a:gd name="T2" fmla="*/ 0 w 118"/>
                    <a:gd name="T3" fmla="*/ 59 h 105"/>
                    <a:gd name="T4" fmla="*/ 3 w 118"/>
                    <a:gd name="T5" fmla="*/ 78 h 105"/>
                    <a:gd name="T6" fmla="*/ 8 w 118"/>
                    <a:gd name="T7" fmla="*/ 78 h 105"/>
                    <a:gd name="T8" fmla="*/ 17 w 118"/>
                    <a:gd name="T9" fmla="*/ 75 h 105"/>
                    <a:gd name="T10" fmla="*/ 20 w 118"/>
                    <a:gd name="T11" fmla="*/ 75 h 105"/>
                    <a:gd name="T12" fmla="*/ 24 w 118"/>
                    <a:gd name="T13" fmla="*/ 77 h 105"/>
                    <a:gd name="T14" fmla="*/ 27 w 118"/>
                    <a:gd name="T15" fmla="*/ 80 h 105"/>
                    <a:gd name="T16" fmla="*/ 30 w 118"/>
                    <a:gd name="T17" fmla="*/ 81 h 105"/>
                    <a:gd name="T18" fmla="*/ 33 w 118"/>
                    <a:gd name="T19" fmla="*/ 80 h 105"/>
                    <a:gd name="T20" fmla="*/ 31 w 118"/>
                    <a:gd name="T21" fmla="*/ 78 h 105"/>
                    <a:gd name="T22" fmla="*/ 29 w 118"/>
                    <a:gd name="T23" fmla="*/ 74 h 105"/>
                    <a:gd name="T24" fmla="*/ 26 w 118"/>
                    <a:gd name="T25" fmla="*/ 69 h 105"/>
                    <a:gd name="T26" fmla="*/ 32 w 118"/>
                    <a:gd name="T27" fmla="*/ 64 h 105"/>
                    <a:gd name="T28" fmla="*/ 38 w 118"/>
                    <a:gd name="T29" fmla="*/ 70 h 105"/>
                    <a:gd name="T30" fmla="*/ 41 w 118"/>
                    <a:gd name="T31" fmla="*/ 71 h 105"/>
                    <a:gd name="T32" fmla="*/ 44 w 118"/>
                    <a:gd name="T33" fmla="*/ 71 h 105"/>
                    <a:gd name="T34" fmla="*/ 55 w 118"/>
                    <a:gd name="T35" fmla="*/ 79 h 105"/>
                    <a:gd name="T36" fmla="*/ 67 w 118"/>
                    <a:gd name="T37" fmla="*/ 78 h 105"/>
                    <a:gd name="T38" fmla="*/ 71 w 118"/>
                    <a:gd name="T39" fmla="*/ 79 h 105"/>
                    <a:gd name="T40" fmla="*/ 76 w 118"/>
                    <a:gd name="T41" fmla="*/ 78 h 105"/>
                    <a:gd name="T42" fmla="*/ 81 w 118"/>
                    <a:gd name="T43" fmla="*/ 79 h 105"/>
                    <a:gd name="T44" fmla="*/ 86 w 118"/>
                    <a:gd name="T45" fmla="*/ 78 h 105"/>
                    <a:gd name="T46" fmla="*/ 85 w 118"/>
                    <a:gd name="T47" fmla="*/ 83 h 105"/>
                    <a:gd name="T48" fmla="*/ 84 w 118"/>
                    <a:gd name="T49" fmla="*/ 88 h 105"/>
                    <a:gd name="T50" fmla="*/ 82 w 118"/>
                    <a:gd name="T51" fmla="*/ 93 h 105"/>
                    <a:gd name="T52" fmla="*/ 78 w 118"/>
                    <a:gd name="T53" fmla="*/ 98 h 105"/>
                    <a:gd name="T54" fmla="*/ 74 w 118"/>
                    <a:gd name="T55" fmla="*/ 104 h 105"/>
                    <a:gd name="T56" fmla="*/ 80 w 118"/>
                    <a:gd name="T57" fmla="*/ 102 h 105"/>
                    <a:gd name="T58" fmla="*/ 88 w 118"/>
                    <a:gd name="T59" fmla="*/ 96 h 105"/>
                    <a:gd name="T60" fmla="*/ 91 w 118"/>
                    <a:gd name="T61" fmla="*/ 93 h 105"/>
                    <a:gd name="T62" fmla="*/ 91 w 118"/>
                    <a:gd name="T63" fmla="*/ 93 h 105"/>
                    <a:gd name="T64" fmla="*/ 91 w 118"/>
                    <a:gd name="T65" fmla="*/ 92 h 105"/>
                    <a:gd name="T66" fmla="*/ 102 w 118"/>
                    <a:gd name="T67" fmla="*/ 90 h 105"/>
                    <a:gd name="T68" fmla="*/ 109 w 118"/>
                    <a:gd name="T69" fmla="*/ 91 h 105"/>
                    <a:gd name="T70" fmla="*/ 118 w 118"/>
                    <a:gd name="T71" fmla="*/ 59 h 105"/>
                    <a:gd name="T72" fmla="*/ 59 w 118"/>
                    <a:gd name="T73" fmla="*/ 0 h 105"/>
                    <a:gd name="T74" fmla="*/ 107 w 118"/>
                    <a:gd name="T75" fmla="*/ 57 h 105"/>
                    <a:gd name="T76" fmla="*/ 54 w 118"/>
                    <a:gd name="T77" fmla="*/ 71 h 105"/>
                    <a:gd name="T78" fmla="*/ 13 w 118"/>
                    <a:gd name="T79" fmla="*/ 41 h 105"/>
                    <a:gd name="T80" fmla="*/ 32 w 118"/>
                    <a:gd name="T81" fmla="*/ 35 h 105"/>
                    <a:gd name="T82" fmla="*/ 37 w 118"/>
                    <a:gd name="T83" fmla="*/ 46 h 105"/>
                    <a:gd name="T84" fmla="*/ 63 w 118"/>
                    <a:gd name="T85" fmla="*/ 55 h 105"/>
                    <a:gd name="T86" fmla="*/ 65 w 118"/>
                    <a:gd name="T87" fmla="*/ 53 h 105"/>
                    <a:gd name="T88" fmla="*/ 62 w 118"/>
                    <a:gd name="T89" fmla="*/ 47 h 105"/>
                    <a:gd name="T90" fmla="*/ 52 w 118"/>
                    <a:gd name="T91" fmla="*/ 42 h 105"/>
                    <a:gd name="T92" fmla="*/ 34 w 118"/>
                    <a:gd name="T93" fmla="*/ 30 h 105"/>
                    <a:gd name="T94" fmla="*/ 36 w 118"/>
                    <a:gd name="T95" fmla="*/ 19 h 105"/>
                    <a:gd name="T96" fmla="*/ 51 w 118"/>
                    <a:gd name="T97" fmla="*/ 13 h 105"/>
                    <a:gd name="T98" fmla="*/ 64 w 118"/>
                    <a:gd name="T99" fmla="*/ 12 h 105"/>
                    <a:gd name="T100" fmla="*/ 79 w 118"/>
                    <a:gd name="T101" fmla="*/ 15 h 105"/>
                    <a:gd name="T102" fmla="*/ 89 w 118"/>
                    <a:gd name="T103" fmla="*/ 37 h 105"/>
                    <a:gd name="T104" fmla="*/ 89 w 118"/>
                    <a:gd name="T105" fmla="*/ 45 h 105"/>
                    <a:gd name="T106" fmla="*/ 87 w 118"/>
                    <a:gd name="T107" fmla="*/ 49 h 105"/>
                    <a:gd name="T108" fmla="*/ 88 w 118"/>
                    <a:gd name="T109" fmla="*/ 49 h 105"/>
                    <a:gd name="T110" fmla="*/ 93 w 118"/>
                    <a:gd name="T111" fmla="*/ 43 h 105"/>
                    <a:gd name="T112" fmla="*/ 107 w 118"/>
                    <a:gd name="T113" fmla="*/ 57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18" h="105">
                      <a:moveTo>
                        <a:pt x="59" y="0"/>
                      </a:moveTo>
                      <a:cubicBezTo>
                        <a:pt x="27" y="0"/>
                        <a:pt x="0" y="26"/>
                        <a:pt x="0" y="59"/>
                      </a:cubicBezTo>
                      <a:cubicBezTo>
                        <a:pt x="0" y="65"/>
                        <a:pt x="1" y="72"/>
                        <a:pt x="3" y="78"/>
                      </a:cubicBezTo>
                      <a:cubicBezTo>
                        <a:pt x="8" y="78"/>
                        <a:pt x="8" y="78"/>
                        <a:pt x="8" y="78"/>
                      </a:cubicBezTo>
                      <a:cubicBezTo>
                        <a:pt x="11" y="78"/>
                        <a:pt x="15" y="77"/>
                        <a:pt x="17" y="75"/>
                      </a:cubicBezTo>
                      <a:cubicBezTo>
                        <a:pt x="18" y="75"/>
                        <a:pt x="19" y="75"/>
                        <a:pt x="20" y="75"/>
                      </a:cubicBezTo>
                      <a:cubicBezTo>
                        <a:pt x="22" y="75"/>
                        <a:pt x="23" y="75"/>
                        <a:pt x="24" y="77"/>
                      </a:cubicBezTo>
                      <a:cubicBezTo>
                        <a:pt x="25" y="78"/>
                        <a:pt x="26" y="79"/>
                        <a:pt x="27" y="80"/>
                      </a:cubicBezTo>
                      <a:cubicBezTo>
                        <a:pt x="28" y="80"/>
                        <a:pt x="29" y="81"/>
                        <a:pt x="30" y="81"/>
                      </a:cubicBezTo>
                      <a:cubicBezTo>
                        <a:pt x="31" y="81"/>
                        <a:pt x="32" y="81"/>
                        <a:pt x="33" y="80"/>
                      </a:cubicBezTo>
                      <a:cubicBezTo>
                        <a:pt x="33" y="79"/>
                        <a:pt x="33" y="78"/>
                        <a:pt x="31" y="78"/>
                      </a:cubicBezTo>
                      <a:cubicBezTo>
                        <a:pt x="30" y="77"/>
                        <a:pt x="29" y="76"/>
                        <a:pt x="29" y="74"/>
                      </a:cubicBezTo>
                      <a:cubicBezTo>
                        <a:pt x="28" y="73"/>
                        <a:pt x="26" y="72"/>
                        <a:pt x="26" y="69"/>
                      </a:cubicBezTo>
                      <a:cubicBezTo>
                        <a:pt x="25" y="67"/>
                        <a:pt x="27" y="63"/>
                        <a:pt x="32" y="64"/>
                      </a:cubicBezTo>
                      <a:cubicBezTo>
                        <a:pt x="35" y="65"/>
                        <a:pt x="37" y="69"/>
                        <a:pt x="38" y="70"/>
                      </a:cubicBezTo>
                      <a:cubicBezTo>
                        <a:pt x="38" y="71"/>
                        <a:pt x="39" y="72"/>
                        <a:pt x="41" y="71"/>
                      </a:cubicBezTo>
                      <a:cubicBezTo>
                        <a:pt x="42" y="70"/>
                        <a:pt x="43" y="70"/>
                        <a:pt x="44" y="71"/>
                      </a:cubicBezTo>
                      <a:cubicBezTo>
                        <a:pt x="44" y="72"/>
                        <a:pt x="50" y="79"/>
                        <a:pt x="55" y="79"/>
                      </a:cubicBezTo>
                      <a:cubicBezTo>
                        <a:pt x="61" y="79"/>
                        <a:pt x="64" y="78"/>
                        <a:pt x="67" y="78"/>
                      </a:cubicBezTo>
                      <a:cubicBezTo>
                        <a:pt x="69" y="78"/>
                        <a:pt x="70" y="79"/>
                        <a:pt x="71" y="79"/>
                      </a:cubicBezTo>
                      <a:cubicBezTo>
                        <a:pt x="72" y="79"/>
                        <a:pt x="74" y="78"/>
                        <a:pt x="76" y="78"/>
                      </a:cubicBezTo>
                      <a:cubicBezTo>
                        <a:pt x="77" y="78"/>
                        <a:pt x="79" y="79"/>
                        <a:pt x="81" y="79"/>
                      </a:cubicBezTo>
                      <a:cubicBezTo>
                        <a:pt x="83" y="79"/>
                        <a:pt x="86" y="77"/>
                        <a:pt x="86" y="78"/>
                      </a:cubicBezTo>
                      <a:cubicBezTo>
                        <a:pt x="86" y="79"/>
                        <a:pt x="85" y="82"/>
                        <a:pt x="85" y="83"/>
                      </a:cubicBezTo>
                      <a:cubicBezTo>
                        <a:pt x="85" y="84"/>
                        <a:pt x="85" y="87"/>
                        <a:pt x="84" y="88"/>
                      </a:cubicBezTo>
                      <a:cubicBezTo>
                        <a:pt x="84" y="90"/>
                        <a:pt x="82" y="92"/>
                        <a:pt x="82" y="93"/>
                      </a:cubicBezTo>
                      <a:cubicBezTo>
                        <a:pt x="80" y="95"/>
                        <a:pt x="79" y="96"/>
                        <a:pt x="78" y="98"/>
                      </a:cubicBezTo>
                      <a:cubicBezTo>
                        <a:pt x="77" y="101"/>
                        <a:pt x="74" y="103"/>
                        <a:pt x="74" y="104"/>
                      </a:cubicBezTo>
                      <a:cubicBezTo>
                        <a:pt x="73" y="105"/>
                        <a:pt x="78" y="104"/>
                        <a:pt x="80" y="102"/>
                      </a:cubicBezTo>
                      <a:cubicBezTo>
                        <a:pt x="81" y="101"/>
                        <a:pt x="84" y="96"/>
                        <a:pt x="88" y="96"/>
                      </a:cubicBezTo>
                      <a:cubicBezTo>
                        <a:pt x="90" y="95"/>
                        <a:pt x="91" y="94"/>
                        <a:pt x="91" y="93"/>
                      </a:cubicBezTo>
                      <a:cubicBezTo>
                        <a:pt x="91" y="93"/>
                        <a:pt x="91" y="93"/>
                        <a:pt x="91" y="93"/>
                      </a:cubicBezTo>
                      <a:cubicBezTo>
                        <a:pt x="91" y="92"/>
                        <a:pt x="91" y="92"/>
                        <a:pt x="91" y="92"/>
                      </a:cubicBezTo>
                      <a:cubicBezTo>
                        <a:pt x="94" y="91"/>
                        <a:pt x="98" y="90"/>
                        <a:pt x="102" y="90"/>
                      </a:cubicBezTo>
                      <a:cubicBezTo>
                        <a:pt x="104" y="90"/>
                        <a:pt x="107" y="90"/>
                        <a:pt x="109" y="91"/>
                      </a:cubicBezTo>
                      <a:cubicBezTo>
                        <a:pt x="115" y="82"/>
                        <a:pt x="118" y="70"/>
                        <a:pt x="118" y="59"/>
                      </a:cubicBezTo>
                      <a:cubicBezTo>
                        <a:pt x="118" y="26"/>
                        <a:pt x="92" y="0"/>
                        <a:pt x="59" y="0"/>
                      </a:cubicBezTo>
                      <a:close/>
                      <a:moveTo>
                        <a:pt x="107" y="57"/>
                      </a:moveTo>
                      <a:cubicBezTo>
                        <a:pt x="105" y="73"/>
                        <a:pt x="79" y="78"/>
                        <a:pt x="54" y="71"/>
                      </a:cubicBezTo>
                      <a:cubicBezTo>
                        <a:pt x="31" y="64"/>
                        <a:pt x="10" y="49"/>
                        <a:pt x="13" y="41"/>
                      </a:cubicBezTo>
                      <a:cubicBezTo>
                        <a:pt x="14" y="36"/>
                        <a:pt x="22" y="34"/>
                        <a:pt x="32" y="35"/>
                      </a:cubicBezTo>
                      <a:cubicBezTo>
                        <a:pt x="30" y="38"/>
                        <a:pt x="30" y="42"/>
                        <a:pt x="37" y="46"/>
                      </a:cubicBezTo>
                      <a:cubicBezTo>
                        <a:pt x="46" y="51"/>
                        <a:pt x="60" y="55"/>
                        <a:pt x="63" y="55"/>
                      </a:cubicBezTo>
                      <a:cubicBezTo>
                        <a:pt x="65" y="55"/>
                        <a:pt x="66" y="54"/>
                        <a:pt x="65" y="53"/>
                      </a:cubicBezTo>
                      <a:cubicBezTo>
                        <a:pt x="63" y="52"/>
                        <a:pt x="62" y="50"/>
                        <a:pt x="62" y="47"/>
                      </a:cubicBezTo>
                      <a:cubicBezTo>
                        <a:pt x="61" y="46"/>
                        <a:pt x="61" y="44"/>
                        <a:pt x="52" y="42"/>
                      </a:cubicBezTo>
                      <a:cubicBezTo>
                        <a:pt x="33" y="38"/>
                        <a:pt x="33" y="33"/>
                        <a:pt x="34" y="30"/>
                      </a:cubicBezTo>
                      <a:cubicBezTo>
                        <a:pt x="34" y="30"/>
                        <a:pt x="36" y="22"/>
                        <a:pt x="36" y="19"/>
                      </a:cubicBezTo>
                      <a:cubicBezTo>
                        <a:pt x="37" y="17"/>
                        <a:pt x="39" y="11"/>
                        <a:pt x="51" y="13"/>
                      </a:cubicBezTo>
                      <a:cubicBezTo>
                        <a:pt x="58" y="15"/>
                        <a:pt x="62" y="13"/>
                        <a:pt x="64" y="12"/>
                      </a:cubicBezTo>
                      <a:cubicBezTo>
                        <a:pt x="70" y="11"/>
                        <a:pt x="75" y="12"/>
                        <a:pt x="79" y="15"/>
                      </a:cubicBezTo>
                      <a:cubicBezTo>
                        <a:pt x="82" y="19"/>
                        <a:pt x="87" y="29"/>
                        <a:pt x="89" y="37"/>
                      </a:cubicBezTo>
                      <a:cubicBezTo>
                        <a:pt x="90" y="41"/>
                        <a:pt x="90" y="43"/>
                        <a:pt x="89" y="45"/>
                      </a:cubicBezTo>
                      <a:cubicBezTo>
                        <a:pt x="89" y="46"/>
                        <a:pt x="89" y="46"/>
                        <a:pt x="87" y="49"/>
                      </a:cubicBezTo>
                      <a:cubicBezTo>
                        <a:pt x="87" y="49"/>
                        <a:pt x="87" y="50"/>
                        <a:pt x="88" y="49"/>
                      </a:cubicBezTo>
                      <a:cubicBezTo>
                        <a:pt x="91" y="47"/>
                        <a:pt x="92" y="45"/>
                        <a:pt x="93" y="43"/>
                      </a:cubicBezTo>
                      <a:cubicBezTo>
                        <a:pt x="103" y="45"/>
                        <a:pt x="109" y="50"/>
                        <a:pt x="107" y="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kern="0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135" name="Freeform 54"/>
                <p:cNvSpPr>
                  <a:spLocks noEditPoints="1"/>
                </p:cNvSpPr>
                <p:nvPr/>
              </p:nvSpPr>
              <p:spPr bwMode="auto">
                <a:xfrm>
                  <a:off x="3264976" y="5944894"/>
                  <a:ext cx="15274" cy="15274"/>
                </a:xfrm>
                <a:custGeom>
                  <a:avLst/>
                  <a:gdLst>
                    <a:gd name="T0" fmla="*/ 1 w 3"/>
                    <a:gd name="T1" fmla="*/ 2 h 3"/>
                    <a:gd name="T2" fmla="*/ 1 w 3"/>
                    <a:gd name="T3" fmla="*/ 2 h 3"/>
                    <a:gd name="T4" fmla="*/ 2 w 3"/>
                    <a:gd name="T5" fmla="*/ 3 h 3"/>
                    <a:gd name="T6" fmla="*/ 3 w 3"/>
                    <a:gd name="T7" fmla="*/ 3 h 3"/>
                    <a:gd name="T8" fmla="*/ 2 w 3"/>
                    <a:gd name="T9" fmla="*/ 2 h 3"/>
                    <a:gd name="T10" fmla="*/ 3 w 3"/>
                    <a:gd name="T11" fmla="*/ 1 h 3"/>
                    <a:gd name="T12" fmla="*/ 2 w 3"/>
                    <a:gd name="T13" fmla="*/ 0 h 3"/>
                    <a:gd name="T14" fmla="*/ 0 w 3"/>
                    <a:gd name="T15" fmla="*/ 0 h 3"/>
                    <a:gd name="T16" fmla="*/ 0 w 3"/>
                    <a:gd name="T17" fmla="*/ 3 h 3"/>
                    <a:gd name="T18" fmla="*/ 1 w 3"/>
                    <a:gd name="T19" fmla="*/ 3 h 3"/>
                    <a:gd name="T20" fmla="*/ 1 w 3"/>
                    <a:gd name="T21" fmla="*/ 2 h 3"/>
                    <a:gd name="T22" fmla="*/ 1 w 3"/>
                    <a:gd name="T23" fmla="*/ 1 h 3"/>
                    <a:gd name="T24" fmla="*/ 1 w 3"/>
                    <a:gd name="T25" fmla="*/ 0 h 3"/>
                    <a:gd name="T26" fmla="*/ 1 w 3"/>
                    <a:gd name="T27" fmla="*/ 0 h 3"/>
                    <a:gd name="T28" fmla="*/ 2 w 3"/>
                    <a:gd name="T29" fmla="*/ 1 h 3"/>
                    <a:gd name="T30" fmla="*/ 1 w 3"/>
                    <a:gd name="T31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" h="3">
                      <a:moveTo>
                        <a:pt x="1" y="2"/>
                      </a:move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2" y="3"/>
                        <a:pt x="2" y="3"/>
                        <a:pt x="2" y="3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3" y="1"/>
                        <a:pt x="3" y="1"/>
                      </a:cubicBezTo>
                      <a:cubicBezTo>
                        <a:pt x="3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lnTo>
                        <a:pt x="1" y="2"/>
                      </a:lnTo>
                      <a:close/>
                      <a:moveTo>
                        <a:pt x="1" y="1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1"/>
                      </a:cubicBezTo>
                      <a:cubicBezTo>
                        <a:pt x="2" y="1"/>
                        <a:pt x="2" y="1"/>
                        <a:pt x="1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kern="0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136" name="Freeform 55"/>
                <p:cNvSpPr>
                  <a:spLocks noEditPoints="1"/>
                </p:cNvSpPr>
                <p:nvPr/>
              </p:nvSpPr>
              <p:spPr bwMode="auto">
                <a:xfrm>
                  <a:off x="3254793" y="5934711"/>
                  <a:ext cx="30547" cy="30547"/>
                </a:xfrm>
                <a:custGeom>
                  <a:avLst/>
                  <a:gdLst>
                    <a:gd name="T0" fmla="*/ 6 w 6"/>
                    <a:gd name="T1" fmla="*/ 3 h 6"/>
                    <a:gd name="T2" fmla="*/ 3 w 6"/>
                    <a:gd name="T3" fmla="*/ 6 h 6"/>
                    <a:gd name="T4" fmla="*/ 0 w 6"/>
                    <a:gd name="T5" fmla="*/ 3 h 6"/>
                    <a:gd name="T6" fmla="*/ 3 w 6"/>
                    <a:gd name="T7" fmla="*/ 0 h 6"/>
                    <a:gd name="T8" fmla="*/ 6 w 6"/>
                    <a:gd name="T9" fmla="*/ 3 h 6"/>
                    <a:gd name="T10" fmla="*/ 3 w 6"/>
                    <a:gd name="T11" fmla="*/ 1 h 6"/>
                    <a:gd name="T12" fmla="*/ 1 w 6"/>
                    <a:gd name="T13" fmla="*/ 3 h 6"/>
                    <a:gd name="T14" fmla="*/ 3 w 6"/>
                    <a:gd name="T15" fmla="*/ 6 h 6"/>
                    <a:gd name="T16" fmla="*/ 6 w 6"/>
                    <a:gd name="T17" fmla="*/ 3 h 6"/>
                    <a:gd name="T18" fmla="*/ 3 w 6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6">
                      <a:moveTo>
                        <a:pt x="6" y="3"/>
                      </a:moveTo>
                      <a:cubicBezTo>
                        <a:pt x="6" y="5"/>
                        <a:pt x="5" y="6"/>
                        <a:pt x="3" y="6"/>
                      </a:cubicBezTo>
                      <a:cubicBezTo>
                        <a:pt x="2" y="6"/>
                        <a:pt x="0" y="5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5" y="0"/>
                        <a:pt x="6" y="2"/>
                        <a:pt x="6" y="3"/>
                      </a:cubicBezTo>
                      <a:moveTo>
                        <a:pt x="3" y="1"/>
                      </a:moveTo>
                      <a:cubicBezTo>
                        <a:pt x="2" y="1"/>
                        <a:pt x="1" y="2"/>
                        <a:pt x="1" y="3"/>
                      </a:cubicBezTo>
                      <a:cubicBezTo>
                        <a:pt x="1" y="5"/>
                        <a:pt x="2" y="6"/>
                        <a:pt x="3" y="6"/>
                      </a:cubicBezTo>
                      <a:cubicBezTo>
                        <a:pt x="5" y="6"/>
                        <a:pt x="6" y="5"/>
                        <a:pt x="6" y="3"/>
                      </a:cubicBezTo>
                      <a:cubicBezTo>
                        <a:pt x="6" y="2"/>
                        <a:pt x="5" y="1"/>
                        <a:pt x="3" y="1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kern="0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</p:grpSp>
        </p:grpSp>
        <p:grpSp>
          <p:nvGrpSpPr>
            <p:cNvPr id="120" name="Group 119"/>
            <p:cNvGrpSpPr/>
            <p:nvPr/>
          </p:nvGrpSpPr>
          <p:grpSpPr>
            <a:xfrm>
              <a:off x="3639252" y="5657238"/>
              <a:ext cx="1130256" cy="313112"/>
              <a:chOff x="3422805" y="5657238"/>
              <a:chExt cx="1130256" cy="313112"/>
            </a:xfrm>
            <a:solidFill>
              <a:srgbClr val="FFFFFF"/>
            </a:solidFill>
          </p:grpSpPr>
          <p:sp>
            <p:nvSpPr>
              <p:cNvPr id="121" name="Freeform 56"/>
              <p:cNvSpPr>
                <a:spLocks/>
              </p:cNvSpPr>
              <p:nvPr/>
            </p:nvSpPr>
            <p:spPr bwMode="auto">
              <a:xfrm>
                <a:off x="3422805" y="5746335"/>
                <a:ext cx="119645" cy="218923"/>
              </a:xfrm>
              <a:custGeom>
                <a:avLst/>
                <a:gdLst>
                  <a:gd name="T0" fmla="*/ 1 w 23"/>
                  <a:gd name="T1" fmla="*/ 14 h 42"/>
                  <a:gd name="T2" fmla="*/ 0 w 23"/>
                  <a:gd name="T3" fmla="*/ 1 h 42"/>
                  <a:gd name="T4" fmla="*/ 9 w 23"/>
                  <a:gd name="T5" fmla="*/ 1 h 42"/>
                  <a:gd name="T6" fmla="*/ 9 w 23"/>
                  <a:gd name="T7" fmla="*/ 9 h 42"/>
                  <a:gd name="T8" fmla="*/ 10 w 23"/>
                  <a:gd name="T9" fmla="*/ 9 h 42"/>
                  <a:gd name="T10" fmla="*/ 21 w 23"/>
                  <a:gd name="T11" fmla="*/ 0 h 42"/>
                  <a:gd name="T12" fmla="*/ 23 w 23"/>
                  <a:gd name="T13" fmla="*/ 1 h 42"/>
                  <a:gd name="T14" fmla="*/ 23 w 23"/>
                  <a:gd name="T15" fmla="*/ 10 h 42"/>
                  <a:gd name="T16" fmla="*/ 20 w 23"/>
                  <a:gd name="T17" fmla="*/ 10 h 42"/>
                  <a:gd name="T18" fmla="*/ 11 w 23"/>
                  <a:gd name="T19" fmla="*/ 18 h 42"/>
                  <a:gd name="T20" fmla="*/ 11 w 23"/>
                  <a:gd name="T21" fmla="*/ 21 h 42"/>
                  <a:gd name="T22" fmla="*/ 11 w 23"/>
                  <a:gd name="T23" fmla="*/ 42 h 42"/>
                  <a:gd name="T24" fmla="*/ 0 w 23"/>
                  <a:gd name="T25" fmla="*/ 42 h 42"/>
                  <a:gd name="T26" fmla="*/ 1 w 23"/>
                  <a:gd name="T27" fmla="*/ 1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42">
                    <a:moveTo>
                      <a:pt x="1" y="14"/>
                    </a:moveTo>
                    <a:cubicBezTo>
                      <a:pt x="1" y="9"/>
                      <a:pt x="0" y="5"/>
                      <a:pt x="0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2" y="3"/>
                      <a:pt x="16" y="0"/>
                      <a:pt x="21" y="0"/>
                    </a:cubicBezTo>
                    <a:cubicBezTo>
                      <a:pt x="22" y="0"/>
                      <a:pt x="22" y="1"/>
                      <a:pt x="23" y="1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2" y="10"/>
                      <a:pt x="21" y="10"/>
                      <a:pt x="20" y="10"/>
                    </a:cubicBezTo>
                    <a:cubicBezTo>
                      <a:pt x="15" y="10"/>
                      <a:pt x="12" y="13"/>
                      <a:pt x="11" y="18"/>
                    </a:cubicBezTo>
                    <a:cubicBezTo>
                      <a:pt x="11" y="19"/>
                      <a:pt x="11" y="20"/>
                      <a:pt x="11" y="21"/>
                    </a:cubicBezTo>
                    <a:cubicBezTo>
                      <a:pt x="11" y="42"/>
                      <a:pt x="11" y="42"/>
                      <a:pt x="11" y="42"/>
                    </a:cubicBezTo>
                    <a:cubicBezTo>
                      <a:pt x="0" y="42"/>
                      <a:pt x="0" y="42"/>
                      <a:pt x="0" y="42"/>
                    </a:cubicBezTo>
                    <a:lnTo>
                      <a:pt x="1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22" name="Freeform 57"/>
              <p:cNvSpPr>
                <a:spLocks noEditPoints="1"/>
              </p:cNvSpPr>
              <p:nvPr/>
            </p:nvSpPr>
            <p:spPr bwMode="auto">
              <a:xfrm>
                <a:off x="3557723" y="5746335"/>
                <a:ext cx="188376" cy="224015"/>
              </a:xfrm>
              <a:custGeom>
                <a:avLst/>
                <a:gdLst>
                  <a:gd name="T0" fmla="*/ 10 w 37"/>
                  <a:gd name="T1" fmla="*/ 24 h 43"/>
                  <a:gd name="T2" fmla="*/ 22 w 37"/>
                  <a:gd name="T3" fmla="*/ 35 h 43"/>
                  <a:gd name="T4" fmla="*/ 33 w 37"/>
                  <a:gd name="T5" fmla="*/ 33 h 43"/>
                  <a:gd name="T6" fmla="*/ 35 w 37"/>
                  <a:gd name="T7" fmla="*/ 40 h 43"/>
                  <a:gd name="T8" fmla="*/ 21 w 37"/>
                  <a:gd name="T9" fmla="*/ 43 h 43"/>
                  <a:gd name="T10" fmla="*/ 0 w 37"/>
                  <a:gd name="T11" fmla="*/ 22 h 43"/>
                  <a:gd name="T12" fmla="*/ 20 w 37"/>
                  <a:gd name="T13" fmla="*/ 0 h 43"/>
                  <a:gd name="T14" fmla="*/ 37 w 37"/>
                  <a:gd name="T15" fmla="*/ 20 h 43"/>
                  <a:gd name="T16" fmla="*/ 37 w 37"/>
                  <a:gd name="T17" fmla="*/ 24 h 43"/>
                  <a:gd name="T18" fmla="*/ 10 w 37"/>
                  <a:gd name="T19" fmla="*/ 24 h 43"/>
                  <a:gd name="T20" fmla="*/ 27 w 37"/>
                  <a:gd name="T21" fmla="*/ 17 h 43"/>
                  <a:gd name="T22" fmla="*/ 19 w 37"/>
                  <a:gd name="T23" fmla="*/ 7 h 43"/>
                  <a:gd name="T24" fmla="*/ 10 w 37"/>
                  <a:gd name="T25" fmla="*/ 17 h 43"/>
                  <a:gd name="T26" fmla="*/ 27 w 37"/>
                  <a:gd name="T27" fmla="*/ 1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43">
                    <a:moveTo>
                      <a:pt x="10" y="24"/>
                    </a:moveTo>
                    <a:cubicBezTo>
                      <a:pt x="10" y="32"/>
                      <a:pt x="16" y="35"/>
                      <a:pt x="22" y="35"/>
                    </a:cubicBezTo>
                    <a:cubicBezTo>
                      <a:pt x="27" y="35"/>
                      <a:pt x="30" y="34"/>
                      <a:pt x="33" y="33"/>
                    </a:cubicBezTo>
                    <a:cubicBezTo>
                      <a:pt x="35" y="40"/>
                      <a:pt x="35" y="40"/>
                      <a:pt x="35" y="40"/>
                    </a:cubicBezTo>
                    <a:cubicBezTo>
                      <a:pt x="31" y="42"/>
                      <a:pt x="27" y="43"/>
                      <a:pt x="21" y="43"/>
                    </a:cubicBezTo>
                    <a:cubicBezTo>
                      <a:pt x="7" y="43"/>
                      <a:pt x="0" y="35"/>
                      <a:pt x="0" y="22"/>
                    </a:cubicBezTo>
                    <a:cubicBezTo>
                      <a:pt x="0" y="11"/>
                      <a:pt x="7" y="0"/>
                      <a:pt x="20" y="0"/>
                    </a:cubicBezTo>
                    <a:cubicBezTo>
                      <a:pt x="33" y="0"/>
                      <a:pt x="37" y="11"/>
                      <a:pt x="37" y="20"/>
                    </a:cubicBezTo>
                    <a:cubicBezTo>
                      <a:pt x="37" y="22"/>
                      <a:pt x="37" y="23"/>
                      <a:pt x="37" y="24"/>
                    </a:cubicBezTo>
                    <a:lnTo>
                      <a:pt x="10" y="24"/>
                    </a:lnTo>
                    <a:close/>
                    <a:moveTo>
                      <a:pt x="27" y="17"/>
                    </a:moveTo>
                    <a:cubicBezTo>
                      <a:pt x="27" y="13"/>
                      <a:pt x="26" y="7"/>
                      <a:pt x="19" y="7"/>
                    </a:cubicBezTo>
                    <a:cubicBezTo>
                      <a:pt x="13" y="7"/>
                      <a:pt x="10" y="13"/>
                      <a:pt x="10" y="17"/>
                    </a:cubicBezTo>
                    <a:lnTo>
                      <a:pt x="27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23" name="Freeform 58"/>
              <p:cNvSpPr>
                <a:spLocks noEditPoints="1"/>
              </p:cNvSpPr>
              <p:nvPr/>
            </p:nvSpPr>
            <p:spPr bwMode="auto">
              <a:xfrm>
                <a:off x="3766464" y="5657238"/>
                <a:ext cx="206196" cy="313112"/>
              </a:xfrm>
              <a:custGeom>
                <a:avLst/>
                <a:gdLst>
                  <a:gd name="T0" fmla="*/ 30 w 40"/>
                  <a:gd name="T1" fmla="*/ 41 h 60"/>
                  <a:gd name="T2" fmla="*/ 30 w 40"/>
                  <a:gd name="T3" fmla="*/ 44 h 60"/>
                  <a:gd name="T4" fmla="*/ 21 w 40"/>
                  <a:gd name="T5" fmla="*/ 52 h 60"/>
                  <a:gd name="T6" fmla="*/ 11 w 40"/>
                  <a:gd name="T7" fmla="*/ 39 h 60"/>
                  <a:gd name="T8" fmla="*/ 21 w 40"/>
                  <a:gd name="T9" fmla="*/ 25 h 60"/>
                  <a:gd name="T10" fmla="*/ 30 w 40"/>
                  <a:gd name="T11" fmla="*/ 33 h 60"/>
                  <a:gd name="T12" fmla="*/ 30 w 40"/>
                  <a:gd name="T13" fmla="*/ 35 h 60"/>
                  <a:gd name="T14" fmla="*/ 30 w 40"/>
                  <a:gd name="T15" fmla="*/ 41 h 60"/>
                  <a:gd name="T16" fmla="*/ 40 w 40"/>
                  <a:gd name="T17" fmla="*/ 3 h 60"/>
                  <a:gd name="T18" fmla="*/ 30 w 40"/>
                  <a:gd name="T19" fmla="*/ 0 h 60"/>
                  <a:gd name="T20" fmla="*/ 30 w 40"/>
                  <a:gd name="T21" fmla="*/ 23 h 60"/>
                  <a:gd name="T22" fmla="*/ 30 w 40"/>
                  <a:gd name="T23" fmla="*/ 23 h 60"/>
                  <a:gd name="T24" fmla="*/ 18 w 40"/>
                  <a:gd name="T25" fmla="*/ 17 h 60"/>
                  <a:gd name="T26" fmla="*/ 0 w 40"/>
                  <a:gd name="T27" fmla="*/ 39 h 60"/>
                  <a:gd name="T28" fmla="*/ 18 w 40"/>
                  <a:gd name="T29" fmla="*/ 60 h 60"/>
                  <a:gd name="T30" fmla="*/ 31 w 40"/>
                  <a:gd name="T31" fmla="*/ 52 h 60"/>
                  <a:gd name="T32" fmla="*/ 31 w 40"/>
                  <a:gd name="T33" fmla="*/ 52 h 60"/>
                  <a:gd name="T34" fmla="*/ 31 w 40"/>
                  <a:gd name="T35" fmla="*/ 59 h 60"/>
                  <a:gd name="T36" fmla="*/ 40 w 40"/>
                  <a:gd name="T37" fmla="*/ 59 h 60"/>
                  <a:gd name="T38" fmla="*/ 40 w 40"/>
                  <a:gd name="T39" fmla="*/ 47 h 60"/>
                  <a:gd name="T40" fmla="*/ 40 w 40"/>
                  <a:gd name="T41" fmla="*/ 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" h="60">
                    <a:moveTo>
                      <a:pt x="30" y="41"/>
                    </a:moveTo>
                    <a:cubicBezTo>
                      <a:pt x="30" y="42"/>
                      <a:pt x="30" y="43"/>
                      <a:pt x="30" y="44"/>
                    </a:cubicBezTo>
                    <a:cubicBezTo>
                      <a:pt x="29" y="49"/>
                      <a:pt x="25" y="52"/>
                      <a:pt x="21" y="52"/>
                    </a:cubicBezTo>
                    <a:cubicBezTo>
                      <a:pt x="14" y="52"/>
                      <a:pt x="11" y="46"/>
                      <a:pt x="11" y="39"/>
                    </a:cubicBezTo>
                    <a:cubicBezTo>
                      <a:pt x="11" y="31"/>
                      <a:pt x="14" y="25"/>
                      <a:pt x="21" y="25"/>
                    </a:cubicBezTo>
                    <a:cubicBezTo>
                      <a:pt x="25" y="25"/>
                      <a:pt x="29" y="29"/>
                      <a:pt x="30" y="33"/>
                    </a:cubicBezTo>
                    <a:cubicBezTo>
                      <a:pt x="30" y="33"/>
                      <a:pt x="30" y="34"/>
                      <a:pt x="30" y="35"/>
                    </a:cubicBezTo>
                    <a:lnTo>
                      <a:pt x="30" y="41"/>
                    </a:lnTo>
                    <a:close/>
                    <a:moveTo>
                      <a:pt x="40" y="3"/>
                    </a:moveTo>
                    <a:cubicBezTo>
                      <a:pt x="30" y="0"/>
                      <a:pt x="30" y="0"/>
                      <a:pt x="30" y="0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28" y="20"/>
                      <a:pt x="24" y="17"/>
                      <a:pt x="18" y="17"/>
                    </a:cubicBezTo>
                    <a:cubicBezTo>
                      <a:pt x="9" y="17"/>
                      <a:pt x="0" y="26"/>
                      <a:pt x="0" y="39"/>
                    </a:cubicBezTo>
                    <a:cubicBezTo>
                      <a:pt x="0" y="52"/>
                      <a:pt x="8" y="60"/>
                      <a:pt x="18" y="60"/>
                    </a:cubicBezTo>
                    <a:cubicBezTo>
                      <a:pt x="23" y="60"/>
                      <a:pt x="28" y="57"/>
                      <a:pt x="31" y="52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1" y="59"/>
                      <a:pt x="31" y="59"/>
                      <a:pt x="31" y="59"/>
                    </a:cubicBezTo>
                    <a:cubicBezTo>
                      <a:pt x="40" y="59"/>
                      <a:pt x="40" y="59"/>
                      <a:pt x="40" y="59"/>
                    </a:cubicBezTo>
                    <a:cubicBezTo>
                      <a:pt x="40" y="56"/>
                      <a:pt x="40" y="52"/>
                      <a:pt x="40" y="47"/>
                    </a:cubicBezTo>
                    <a:lnTo>
                      <a:pt x="4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24" name="Freeform 59"/>
              <p:cNvSpPr>
                <a:spLocks/>
              </p:cNvSpPr>
              <p:nvPr/>
            </p:nvSpPr>
            <p:spPr bwMode="auto">
              <a:xfrm>
                <a:off x="4018480" y="5682694"/>
                <a:ext cx="165466" cy="282565"/>
              </a:xfrm>
              <a:custGeom>
                <a:avLst/>
                <a:gdLst>
                  <a:gd name="T0" fmla="*/ 18 w 32"/>
                  <a:gd name="T1" fmla="*/ 12 h 54"/>
                  <a:gd name="T2" fmla="*/ 10 w 32"/>
                  <a:gd name="T3" fmla="*/ 15 h 54"/>
                  <a:gd name="T4" fmla="*/ 4 w 32"/>
                  <a:gd name="T5" fmla="*/ 21 h 54"/>
                  <a:gd name="T6" fmla="*/ 4 w 32"/>
                  <a:gd name="T7" fmla="*/ 21 h 54"/>
                  <a:gd name="T8" fmla="*/ 4 w 32"/>
                  <a:gd name="T9" fmla="*/ 2 h 54"/>
                  <a:gd name="T10" fmla="*/ 0 w 32"/>
                  <a:gd name="T11" fmla="*/ 0 h 54"/>
                  <a:gd name="T12" fmla="*/ 0 w 32"/>
                  <a:gd name="T13" fmla="*/ 54 h 54"/>
                  <a:gd name="T14" fmla="*/ 4 w 32"/>
                  <a:gd name="T15" fmla="*/ 54 h 54"/>
                  <a:gd name="T16" fmla="*/ 4 w 32"/>
                  <a:gd name="T17" fmla="*/ 29 h 54"/>
                  <a:gd name="T18" fmla="*/ 5 w 32"/>
                  <a:gd name="T19" fmla="*/ 25 h 54"/>
                  <a:gd name="T20" fmla="*/ 17 w 32"/>
                  <a:gd name="T21" fmla="*/ 16 h 54"/>
                  <a:gd name="T22" fmla="*/ 28 w 32"/>
                  <a:gd name="T23" fmla="*/ 30 h 54"/>
                  <a:gd name="T24" fmla="*/ 28 w 32"/>
                  <a:gd name="T25" fmla="*/ 54 h 54"/>
                  <a:gd name="T26" fmla="*/ 32 w 32"/>
                  <a:gd name="T27" fmla="*/ 54 h 54"/>
                  <a:gd name="T28" fmla="*/ 32 w 32"/>
                  <a:gd name="T29" fmla="*/ 29 h 54"/>
                  <a:gd name="T30" fmla="*/ 18 w 32"/>
                  <a:gd name="T31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2" h="54">
                    <a:moveTo>
                      <a:pt x="18" y="12"/>
                    </a:moveTo>
                    <a:cubicBezTo>
                      <a:pt x="15" y="12"/>
                      <a:pt x="12" y="13"/>
                      <a:pt x="10" y="15"/>
                    </a:cubicBezTo>
                    <a:cubicBezTo>
                      <a:pt x="8" y="16"/>
                      <a:pt x="6" y="18"/>
                      <a:pt x="4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4" y="54"/>
                      <a:pt x="4" y="54"/>
                      <a:pt x="4" y="54"/>
                    </a:cubicBezTo>
                    <a:cubicBezTo>
                      <a:pt x="4" y="29"/>
                      <a:pt x="4" y="29"/>
                      <a:pt x="4" y="29"/>
                    </a:cubicBezTo>
                    <a:cubicBezTo>
                      <a:pt x="4" y="27"/>
                      <a:pt x="4" y="26"/>
                      <a:pt x="5" y="25"/>
                    </a:cubicBezTo>
                    <a:cubicBezTo>
                      <a:pt x="7" y="20"/>
                      <a:pt x="11" y="16"/>
                      <a:pt x="17" y="16"/>
                    </a:cubicBezTo>
                    <a:cubicBezTo>
                      <a:pt x="25" y="16"/>
                      <a:pt x="28" y="23"/>
                      <a:pt x="28" y="30"/>
                    </a:cubicBezTo>
                    <a:cubicBezTo>
                      <a:pt x="28" y="54"/>
                      <a:pt x="28" y="54"/>
                      <a:pt x="28" y="54"/>
                    </a:cubicBezTo>
                    <a:cubicBezTo>
                      <a:pt x="32" y="54"/>
                      <a:pt x="32" y="54"/>
                      <a:pt x="32" y="54"/>
                    </a:cubicBezTo>
                    <a:cubicBezTo>
                      <a:pt x="32" y="29"/>
                      <a:pt x="32" y="29"/>
                      <a:pt x="32" y="29"/>
                    </a:cubicBezTo>
                    <a:cubicBezTo>
                      <a:pt x="32" y="14"/>
                      <a:pt x="22" y="12"/>
                      <a:pt x="18" y="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25" name="Freeform 60"/>
              <p:cNvSpPr>
                <a:spLocks noEditPoints="1"/>
              </p:cNvSpPr>
              <p:nvPr/>
            </p:nvSpPr>
            <p:spPr bwMode="auto">
              <a:xfrm>
                <a:off x="4219585" y="5746335"/>
                <a:ext cx="152737" cy="224015"/>
              </a:xfrm>
              <a:custGeom>
                <a:avLst/>
                <a:gdLst>
                  <a:gd name="T0" fmla="*/ 29 w 30"/>
                  <a:gd name="T1" fmla="*/ 32 h 43"/>
                  <a:gd name="T2" fmla="*/ 30 w 30"/>
                  <a:gd name="T3" fmla="*/ 42 h 43"/>
                  <a:gd name="T4" fmla="*/ 26 w 30"/>
                  <a:gd name="T5" fmla="*/ 42 h 43"/>
                  <a:gd name="T6" fmla="*/ 25 w 30"/>
                  <a:gd name="T7" fmla="*/ 36 h 43"/>
                  <a:gd name="T8" fmla="*/ 25 w 30"/>
                  <a:gd name="T9" fmla="*/ 36 h 43"/>
                  <a:gd name="T10" fmla="*/ 12 w 30"/>
                  <a:gd name="T11" fmla="*/ 43 h 43"/>
                  <a:gd name="T12" fmla="*/ 0 w 30"/>
                  <a:gd name="T13" fmla="*/ 32 h 43"/>
                  <a:gd name="T14" fmla="*/ 25 w 30"/>
                  <a:gd name="T15" fmla="*/ 17 h 43"/>
                  <a:gd name="T16" fmla="*/ 25 w 30"/>
                  <a:gd name="T17" fmla="*/ 16 h 43"/>
                  <a:gd name="T18" fmla="*/ 15 w 30"/>
                  <a:gd name="T19" fmla="*/ 4 h 43"/>
                  <a:gd name="T20" fmla="*/ 5 w 30"/>
                  <a:gd name="T21" fmla="*/ 7 h 43"/>
                  <a:gd name="T22" fmla="*/ 3 w 30"/>
                  <a:gd name="T23" fmla="*/ 4 h 43"/>
                  <a:gd name="T24" fmla="*/ 15 w 30"/>
                  <a:gd name="T25" fmla="*/ 0 h 43"/>
                  <a:gd name="T26" fmla="*/ 29 w 30"/>
                  <a:gd name="T27" fmla="*/ 16 h 43"/>
                  <a:gd name="T28" fmla="*/ 29 w 30"/>
                  <a:gd name="T29" fmla="*/ 32 h 43"/>
                  <a:gd name="T30" fmla="*/ 25 w 30"/>
                  <a:gd name="T31" fmla="*/ 20 h 43"/>
                  <a:gd name="T32" fmla="*/ 5 w 30"/>
                  <a:gd name="T33" fmla="*/ 31 h 43"/>
                  <a:gd name="T34" fmla="*/ 13 w 30"/>
                  <a:gd name="T35" fmla="*/ 39 h 43"/>
                  <a:gd name="T36" fmla="*/ 25 w 30"/>
                  <a:gd name="T37" fmla="*/ 31 h 43"/>
                  <a:gd name="T38" fmla="*/ 25 w 30"/>
                  <a:gd name="T39" fmla="*/ 29 h 43"/>
                  <a:gd name="T40" fmla="*/ 25 w 30"/>
                  <a:gd name="T41" fmla="*/ 2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0" h="43">
                    <a:moveTo>
                      <a:pt x="29" y="32"/>
                    </a:moveTo>
                    <a:cubicBezTo>
                      <a:pt x="29" y="35"/>
                      <a:pt x="29" y="39"/>
                      <a:pt x="30" y="42"/>
                    </a:cubicBezTo>
                    <a:cubicBezTo>
                      <a:pt x="26" y="42"/>
                      <a:pt x="26" y="42"/>
                      <a:pt x="26" y="42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3" y="39"/>
                      <a:pt x="19" y="43"/>
                      <a:pt x="12" y="43"/>
                    </a:cubicBezTo>
                    <a:cubicBezTo>
                      <a:pt x="4" y="43"/>
                      <a:pt x="0" y="37"/>
                      <a:pt x="0" y="32"/>
                    </a:cubicBezTo>
                    <a:cubicBezTo>
                      <a:pt x="0" y="22"/>
                      <a:pt x="9" y="17"/>
                      <a:pt x="25" y="17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25" y="12"/>
                      <a:pt x="24" y="4"/>
                      <a:pt x="15" y="4"/>
                    </a:cubicBezTo>
                    <a:cubicBezTo>
                      <a:pt x="11" y="4"/>
                      <a:pt x="8" y="5"/>
                      <a:pt x="5" y="7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7" y="1"/>
                      <a:pt x="12" y="0"/>
                      <a:pt x="15" y="0"/>
                    </a:cubicBezTo>
                    <a:cubicBezTo>
                      <a:pt x="27" y="0"/>
                      <a:pt x="29" y="9"/>
                      <a:pt x="29" y="16"/>
                    </a:cubicBezTo>
                    <a:lnTo>
                      <a:pt x="29" y="32"/>
                    </a:lnTo>
                    <a:close/>
                    <a:moveTo>
                      <a:pt x="25" y="20"/>
                    </a:moveTo>
                    <a:cubicBezTo>
                      <a:pt x="16" y="20"/>
                      <a:pt x="5" y="21"/>
                      <a:pt x="5" y="31"/>
                    </a:cubicBezTo>
                    <a:cubicBezTo>
                      <a:pt x="5" y="37"/>
                      <a:pt x="9" y="39"/>
                      <a:pt x="13" y="39"/>
                    </a:cubicBezTo>
                    <a:cubicBezTo>
                      <a:pt x="20" y="39"/>
                      <a:pt x="23" y="35"/>
                      <a:pt x="25" y="31"/>
                    </a:cubicBezTo>
                    <a:cubicBezTo>
                      <a:pt x="25" y="30"/>
                      <a:pt x="25" y="30"/>
                      <a:pt x="25" y="29"/>
                    </a:cubicBezTo>
                    <a:lnTo>
                      <a:pt x="25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26" name="Freeform 61"/>
              <p:cNvSpPr>
                <a:spLocks/>
              </p:cNvSpPr>
              <p:nvPr/>
            </p:nvSpPr>
            <p:spPr bwMode="auto">
              <a:xfrm>
                <a:off x="4392688" y="5703059"/>
                <a:ext cx="119645" cy="267291"/>
              </a:xfrm>
              <a:custGeom>
                <a:avLst/>
                <a:gdLst>
                  <a:gd name="T0" fmla="*/ 11 w 23"/>
                  <a:gd name="T1" fmla="*/ 0 h 51"/>
                  <a:gd name="T2" fmla="*/ 11 w 23"/>
                  <a:gd name="T3" fmla="*/ 9 h 51"/>
                  <a:gd name="T4" fmla="*/ 23 w 23"/>
                  <a:gd name="T5" fmla="*/ 9 h 51"/>
                  <a:gd name="T6" fmla="*/ 23 w 23"/>
                  <a:gd name="T7" fmla="*/ 13 h 51"/>
                  <a:gd name="T8" fmla="*/ 11 w 23"/>
                  <a:gd name="T9" fmla="*/ 13 h 51"/>
                  <a:gd name="T10" fmla="*/ 11 w 23"/>
                  <a:gd name="T11" fmla="*/ 39 h 51"/>
                  <a:gd name="T12" fmla="*/ 17 w 23"/>
                  <a:gd name="T13" fmla="*/ 47 h 51"/>
                  <a:gd name="T14" fmla="*/ 22 w 23"/>
                  <a:gd name="T15" fmla="*/ 47 h 51"/>
                  <a:gd name="T16" fmla="*/ 22 w 23"/>
                  <a:gd name="T17" fmla="*/ 50 h 51"/>
                  <a:gd name="T18" fmla="*/ 17 w 23"/>
                  <a:gd name="T19" fmla="*/ 51 h 51"/>
                  <a:gd name="T20" fmla="*/ 10 w 23"/>
                  <a:gd name="T21" fmla="*/ 48 h 51"/>
                  <a:gd name="T22" fmla="*/ 7 w 23"/>
                  <a:gd name="T23" fmla="*/ 38 h 51"/>
                  <a:gd name="T24" fmla="*/ 7 w 23"/>
                  <a:gd name="T25" fmla="*/ 13 h 51"/>
                  <a:gd name="T26" fmla="*/ 0 w 23"/>
                  <a:gd name="T27" fmla="*/ 13 h 51"/>
                  <a:gd name="T28" fmla="*/ 0 w 23"/>
                  <a:gd name="T29" fmla="*/ 9 h 51"/>
                  <a:gd name="T30" fmla="*/ 7 w 23"/>
                  <a:gd name="T31" fmla="*/ 9 h 51"/>
                  <a:gd name="T32" fmla="*/ 7 w 23"/>
                  <a:gd name="T33" fmla="*/ 2 h 51"/>
                  <a:gd name="T34" fmla="*/ 11 w 23"/>
                  <a:gd name="T35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3" h="51">
                    <a:moveTo>
                      <a:pt x="11" y="0"/>
                    </a:moveTo>
                    <a:cubicBezTo>
                      <a:pt x="11" y="9"/>
                      <a:pt x="11" y="9"/>
                      <a:pt x="11" y="9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1" y="39"/>
                      <a:pt x="11" y="39"/>
                      <a:pt x="11" y="39"/>
                    </a:cubicBezTo>
                    <a:cubicBezTo>
                      <a:pt x="11" y="44"/>
                      <a:pt x="13" y="47"/>
                      <a:pt x="17" y="47"/>
                    </a:cubicBezTo>
                    <a:cubicBezTo>
                      <a:pt x="19" y="47"/>
                      <a:pt x="21" y="47"/>
                      <a:pt x="22" y="47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21" y="50"/>
                      <a:pt x="19" y="51"/>
                      <a:pt x="17" y="51"/>
                    </a:cubicBezTo>
                    <a:cubicBezTo>
                      <a:pt x="14" y="51"/>
                      <a:pt x="11" y="50"/>
                      <a:pt x="10" y="48"/>
                    </a:cubicBezTo>
                    <a:cubicBezTo>
                      <a:pt x="8" y="46"/>
                      <a:pt x="7" y="42"/>
                      <a:pt x="7" y="38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2"/>
                      <a:pt x="7" y="2"/>
                      <a:pt x="7" y="2"/>
                    </a:cubicBezTo>
                    <a:lnTo>
                      <a:pt x="1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27" name="Freeform 62"/>
              <p:cNvSpPr>
                <a:spLocks noEditPoints="1"/>
              </p:cNvSpPr>
              <p:nvPr/>
            </p:nvSpPr>
            <p:spPr bwMode="auto">
              <a:xfrm>
                <a:off x="4532696" y="5944894"/>
                <a:ext cx="15274" cy="15274"/>
              </a:xfrm>
              <a:custGeom>
                <a:avLst/>
                <a:gdLst>
                  <a:gd name="T0" fmla="*/ 1 w 3"/>
                  <a:gd name="T1" fmla="*/ 2 h 3"/>
                  <a:gd name="T2" fmla="*/ 1 w 3"/>
                  <a:gd name="T3" fmla="*/ 2 h 3"/>
                  <a:gd name="T4" fmla="*/ 2 w 3"/>
                  <a:gd name="T5" fmla="*/ 3 h 3"/>
                  <a:gd name="T6" fmla="*/ 3 w 3"/>
                  <a:gd name="T7" fmla="*/ 3 h 3"/>
                  <a:gd name="T8" fmla="*/ 2 w 3"/>
                  <a:gd name="T9" fmla="*/ 2 h 3"/>
                  <a:gd name="T10" fmla="*/ 3 w 3"/>
                  <a:gd name="T11" fmla="*/ 1 h 3"/>
                  <a:gd name="T12" fmla="*/ 1 w 3"/>
                  <a:gd name="T13" fmla="*/ 0 h 3"/>
                  <a:gd name="T14" fmla="*/ 0 w 3"/>
                  <a:gd name="T15" fmla="*/ 0 h 3"/>
                  <a:gd name="T16" fmla="*/ 0 w 3"/>
                  <a:gd name="T17" fmla="*/ 3 h 3"/>
                  <a:gd name="T18" fmla="*/ 1 w 3"/>
                  <a:gd name="T19" fmla="*/ 3 h 3"/>
                  <a:gd name="T20" fmla="*/ 1 w 3"/>
                  <a:gd name="T21" fmla="*/ 2 h 3"/>
                  <a:gd name="T22" fmla="*/ 1 w 3"/>
                  <a:gd name="T23" fmla="*/ 1 h 3"/>
                  <a:gd name="T24" fmla="*/ 1 w 3"/>
                  <a:gd name="T25" fmla="*/ 0 h 3"/>
                  <a:gd name="T26" fmla="*/ 1 w 3"/>
                  <a:gd name="T27" fmla="*/ 0 h 3"/>
                  <a:gd name="T28" fmla="*/ 2 w 3"/>
                  <a:gd name="T29" fmla="*/ 1 h 3"/>
                  <a:gd name="T30" fmla="*/ 1 w 3"/>
                  <a:gd name="T31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" h="3">
                    <a:moveTo>
                      <a:pt x="1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3" y="1"/>
                      <a:pt x="3" y="1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3"/>
                      <a:pt x="1" y="3"/>
                      <a:pt x="1" y="3"/>
                    </a:cubicBezTo>
                    <a:lnTo>
                      <a:pt x="1" y="2"/>
                    </a:lnTo>
                    <a:close/>
                    <a:moveTo>
                      <a:pt x="1" y="1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1"/>
                    </a:cubicBezTo>
                    <a:cubicBezTo>
                      <a:pt x="2" y="1"/>
                      <a:pt x="2" y="1"/>
                      <a:pt x="1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28" name="Freeform 63"/>
              <p:cNvSpPr>
                <a:spLocks noEditPoints="1"/>
              </p:cNvSpPr>
              <p:nvPr/>
            </p:nvSpPr>
            <p:spPr bwMode="auto">
              <a:xfrm>
                <a:off x="4522514" y="5934711"/>
                <a:ext cx="30547" cy="30547"/>
              </a:xfrm>
              <a:custGeom>
                <a:avLst/>
                <a:gdLst>
                  <a:gd name="T0" fmla="*/ 6 w 6"/>
                  <a:gd name="T1" fmla="*/ 3 h 6"/>
                  <a:gd name="T2" fmla="*/ 3 w 6"/>
                  <a:gd name="T3" fmla="*/ 6 h 6"/>
                  <a:gd name="T4" fmla="*/ 0 w 6"/>
                  <a:gd name="T5" fmla="*/ 3 h 6"/>
                  <a:gd name="T6" fmla="*/ 3 w 6"/>
                  <a:gd name="T7" fmla="*/ 0 h 6"/>
                  <a:gd name="T8" fmla="*/ 6 w 6"/>
                  <a:gd name="T9" fmla="*/ 3 h 6"/>
                  <a:gd name="T10" fmla="*/ 3 w 6"/>
                  <a:gd name="T11" fmla="*/ 1 h 6"/>
                  <a:gd name="T12" fmla="*/ 1 w 6"/>
                  <a:gd name="T13" fmla="*/ 3 h 6"/>
                  <a:gd name="T14" fmla="*/ 3 w 6"/>
                  <a:gd name="T15" fmla="*/ 6 h 6"/>
                  <a:gd name="T16" fmla="*/ 6 w 6"/>
                  <a:gd name="T17" fmla="*/ 3 h 6"/>
                  <a:gd name="T18" fmla="*/ 3 w 6"/>
                  <a:gd name="T19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6">
                    <a:moveTo>
                      <a:pt x="6" y="3"/>
                    </a:moveTo>
                    <a:cubicBezTo>
                      <a:pt x="6" y="5"/>
                      <a:pt x="5" y="6"/>
                      <a:pt x="3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6" y="2"/>
                      <a:pt x="6" y="3"/>
                    </a:cubicBezTo>
                    <a:moveTo>
                      <a:pt x="3" y="1"/>
                    </a:moveTo>
                    <a:cubicBezTo>
                      <a:pt x="2" y="1"/>
                      <a:pt x="1" y="2"/>
                      <a:pt x="1" y="3"/>
                    </a:cubicBezTo>
                    <a:cubicBezTo>
                      <a:pt x="1" y="5"/>
                      <a:pt x="2" y="6"/>
                      <a:pt x="3" y="6"/>
                    </a:cubicBezTo>
                    <a:cubicBezTo>
                      <a:pt x="5" y="6"/>
                      <a:pt x="6" y="5"/>
                      <a:pt x="6" y="3"/>
                    </a:cubicBezTo>
                    <a:cubicBezTo>
                      <a:pt x="6" y="2"/>
                      <a:pt x="5" y="1"/>
                      <a:pt x="3" y="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sp>
        <p:nvSpPr>
          <p:cNvPr id="137" name="Rectangle 136"/>
          <p:cNvSpPr/>
          <p:nvPr/>
        </p:nvSpPr>
        <p:spPr bwMode="auto">
          <a:xfrm>
            <a:off x="4115362" y="1550223"/>
            <a:ext cx="2797667" cy="365708"/>
          </a:xfrm>
          <a:prstGeom prst="rect">
            <a:avLst/>
          </a:prstGeom>
          <a:noFill/>
          <a:ln w="381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27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188">
              <a:defRPr/>
            </a:pPr>
            <a:r>
              <a:rPr lang="en-US" sz="1400" b="1" kern="0" spc="-29" dirty="0">
                <a:solidFill>
                  <a:srgbClr val="002050"/>
                </a:solidFill>
                <a:latin typeface="Segoe UI Light"/>
                <a:cs typeface="Segoe UI Semibold" panose="020B0702040204020203" pitchFamily="34" charset="0"/>
              </a:rPr>
              <a:t>Linux</a:t>
            </a:r>
            <a:r>
              <a:rPr lang="en-US" sz="1400" kern="0" dirty="0">
                <a:solidFill>
                  <a:prstClr val="white"/>
                </a:solidFill>
                <a:latin typeface="Segoe UI Light"/>
                <a:ea typeface="Segoe UI Black" panose="020B0A02040204020203" pitchFamily="34" charset="0"/>
                <a:cs typeface="Segoe UI Black" panose="020B0A02040204020203" pitchFamily="34" charset="0"/>
              </a:rPr>
              <a:t> </a:t>
            </a:r>
          </a:p>
        </p:txBody>
      </p:sp>
      <p:sp>
        <p:nvSpPr>
          <p:cNvPr id="138" name="Rectangle 137"/>
          <p:cNvSpPr/>
          <p:nvPr/>
        </p:nvSpPr>
        <p:spPr bwMode="auto">
          <a:xfrm>
            <a:off x="890951" y="4095658"/>
            <a:ext cx="2797667" cy="365708"/>
          </a:xfrm>
          <a:prstGeom prst="rect">
            <a:avLst/>
          </a:prstGeom>
          <a:noFill/>
          <a:ln w="381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27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188">
              <a:defRPr/>
            </a:pPr>
            <a:r>
              <a:rPr lang="en-US" sz="1400" b="1" kern="0" spc="-29" dirty="0">
                <a:solidFill>
                  <a:srgbClr val="002050"/>
                </a:solidFill>
                <a:latin typeface="Segoe UI Light"/>
                <a:cs typeface="Segoe UI Semibold" panose="020B0702040204020203" pitchFamily="34" charset="0"/>
              </a:rPr>
              <a:t>Linux/Windows container </a:t>
            </a:r>
          </a:p>
        </p:txBody>
      </p:sp>
      <p:sp>
        <p:nvSpPr>
          <p:cNvPr id="139" name="Rectangle 138"/>
          <p:cNvSpPr/>
          <p:nvPr/>
        </p:nvSpPr>
        <p:spPr bwMode="auto">
          <a:xfrm>
            <a:off x="943579" y="1550223"/>
            <a:ext cx="2797667" cy="365708"/>
          </a:xfrm>
          <a:prstGeom prst="rect">
            <a:avLst/>
          </a:prstGeom>
          <a:noFill/>
          <a:ln w="381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27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188">
              <a:defRPr/>
            </a:pPr>
            <a:r>
              <a:rPr lang="en-US" sz="1400" b="1" kern="0" spc="-29" dirty="0">
                <a:solidFill>
                  <a:srgbClr val="002050"/>
                </a:solidFill>
                <a:latin typeface="Segoe UI Light"/>
                <a:cs typeface="Segoe UI Semibold" panose="020B0702040204020203" pitchFamily="34" charset="0"/>
              </a:rPr>
              <a:t>Windows</a:t>
            </a:r>
          </a:p>
        </p:txBody>
      </p:sp>
      <p:sp>
        <p:nvSpPr>
          <p:cNvPr id="140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66" y="110871"/>
            <a:ext cx="6857027" cy="35510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FLEXIBILITY</a:t>
            </a:r>
          </a:p>
        </p:txBody>
      </p:sp>
    </p:spTree>
    <p:extLst>
      <p:ext uri="{BB962C8B-B14F-4D97-AF65-F5344CB8AC3E}">
        <p14:creationId xmlns:p14="http://schemas.microsoft.com/office/powerpoint/2010/main" val="1730967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0" y="2179320"/>
            <a:ext cx="8516035" cy="2572789"/>
          </a:xfrm>
        </p:spPr>
        <p:txBody>
          <a:bodyPr/>
          <a:lstStyle/>
          <a:p>
            <a:r>
              <a:rPr lang="en-US" dirty="0" smtClean="0"/>
              <a:t>SQL Server on Linux</a:t>
            </a:r>
          </a:p>
          <a:p>
            <a:endParaRPr lang="en-US" dirty="0" smtClean="0"/>
          </a:p>
          <a:p>
            <a:pPr marL="448193" indent="-448193">
              <a:buFontTx/>
              <a:buChar char="-"/>
            </a:pPr>
            <a:r>
              <a:rPr lang="en-US" dirty="0" smtClean="0"/>
              <a:t>Install experience</a:t>
            </a:r>
          </a:p>
          <a:p>
            <a:pPr marL="448193" indent="-448193">
              <a:buFontTx/>
              <a:buChar char="-"/>
            </a:pPr>
            <a:r>
              <a:rPr lang="en-US" dirty="0" smtClean="0"/>
              <a:t>Connect &amp; query</a:t>
            </a:r>
          </a:p>
          <a:p>
            <a:pPr marL="448193" indent="-448193">
              <a:buFontTx/>
              <a:buChar char="-"/>
            </a:pPr>
            <a:r>
              <a:rPr lang="en-US" dirty="0" smtClean="0"/>
              <a:t>Restore Backup from Windows </a:t>
            </a:r>
          </a:p>
          <a:p>
            <a:pPr marL="448193" indent="-448193">
              <a:buFontTx/>
              <a:buChar char="-"/>
            </a:pPr>
            <a:endParaRPr lang="en-US" dirty="0"/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269240" y="4973781"/>
            <a:ext cx="8902469" cy="1164421"/>
          </a:xfrm>
          <a:prstGeom prst="rect">
            <a:avLst/>
          </a:prstGeom>
          <a:noFill/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137" kern="1200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353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Demo scripts are on </a:t>
            </a:r>
            <a:r>
              <a:rPr lang="en-US" dirty="0" err="1" smtClean="0"/>
              <a:t>Github</a:t>
            </a:r>
            <a:r>
              <a:rPr lang="en-US" dirty="0" smtClean="0"/>
              <a:t>:</a:t>
            </a:r>
          </a:p>
          <a:p>
            <a:r>
              <a:rPr lang="en-US" dirty="0" smtClean="0">
                <a:hlinkClick r:id="rId3"/>
              </a:rPr>
              <a:t>https</a:t>
            </a:r>
            <a:r>
              <a:rPr lang="en-US" dirty="0">
                <a:hlinkClick r:id="rId3"/>
              </a:rPr>
              <a:t>://</a:t>
            </a:r>
            <a:r>
              <a:rPr lang="en-US" dirty="0" smtClean="0">
                <a:hlinkClick r:id="rId3"/>
              </a:rPr>
              <a:t>github.com/sanagama/sql2017-data360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12852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867" y="1428750"/>
            <a:ext cx="12190269" cy="5428764"/>
          </a:xfrm>
          <a:prstGeom prst="rect">
            <a:avLst/>
          </a:prstGeom>
          <a:solidFill>
            <a:srgbClr val="E5F1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9989" rtlCol="0" anchor="ctr"/>
          <a:lstStyle/>
          <a:p>
            <a:pPr defTabSz="914225"/>
            <a:endParaRPr lang="en-US" sz="4800" dirty="0">
              <a:solidFill>
                <a:srgbClr val="FFFFFF"/>
              </a:solidFill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268081" y="461089"/>
            <a:ext cx="11655840" cy="89953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sz="4700">
                <a:gradFill>
                  <a:gsLst>
                    <a:gs pos="1250">
                      <a:srgbClr val="161616"/>
                    </a:gs>
                    <a:gs pos="100000">
                      <a:srgbClr val="161616"/>
                    </a:gs>
                  </a:gsLst>
                  <a:lin ang="5400000" scaled="0"/>
                </a:gradFill>
              </a:rPr>
              <a:t>Tools and programmability</a:t>
            </a:r>
          </a:p>
        </p:txBody>
      </p:sp>
      <p:sp>
        <p:nvSpPr>
          <p:cNvPr id="4" name="Rectangle 3"/>
          <p:cNvSpPr/>
          <p:nvPr/>
        </p:nvSpPr>
        <p:spPr>
          <a:xfrm>
            <a:off x="7315027" y="1428750"/>
            <a:ext cx="4876108" cy="54270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dist="38100" dir="10800000" algn="r" rotWithShape="0">
              <a:schemeClr val="bg1">
                <a:lumMod val="75000"/>
                <a:alpha val="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648466" y="1710844"/>
            <a:ext cx="4423699" cy="4843626"/>
          </a:xfrm>
          <a:prstGeom prst="rect">
            <a:avLst/>
          </a:prstGeom>
        </p:spPr>
        <p:txBody>
          <a:bodyPr vert="horz" lIns="91427" tIns="45713" rIns="91427" bIns="45713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56" indent="-228556" defTabSz="914225">
              <a:spcBef>
                <a:spcPts val="1800"/>
              </a:spcBef>
              <a:buClr>
                <a:srgbClr val="0078D7"/>
              </a:buClr>
            </a:pPr>
            <a:r>
              <a:rPr lang="en-US" sz="2000" dirty="0">
                <a:solidFill>
                  <a:srgbClr val="2C2C2C"/>
                </a:solidFill>
                <a:latin typeface="Segoe UI Light"/>
              </a:rPr>
              <a:t>Existing Windows-based SQL Server tools like SSMS, SSDT, Profiler, etc. work when connected to SQL Server on </a:t>
            </a:r>
            <a:r>
              <a:rPr lang="en-US" sz="2000" dirty="0" smtClean="0">
                <a:solidFill>
                  <a:srgbClr val="2C2C2C"/>
                </a:solidFill>
                <a:latin typeface="Segoe UI Light"/>
              </a:rPr>
              <a:t>Linux and in Docker</a:t>
            </a:r>
            <a:endParaRPr lang="en-US" sz="2000" dirty="0">
              <a:solidFill>
                <a:srgbClr val="2C2C2C"/>
              </a:solidFill>
              <a:latin typeface="Segoe UI Light"/>
            </a:endParaRPr>
          </a:p>
          <a:p>
            <a:pPr marL="228556" indent="-228556" defTabSz="914225">
              <a:spcBef>
                <a:spcPts val="1800"/>
              </a:spcBef>
              <a:buClr>
                <a:srgbClr val="0078D7"/>
              </a:buClr>
            </a:pPr>
            <a:r>
              <a:rPr lang="en-US" sz="2000" dirty="0">
                <a:solidFill>
                  <a:srgbClr val="2C2C2C"/>
                </a:solidFill>
                <a:latin typeface="Segoe UI Light"/>
              </a:rPr>
              <a:t>3</a:t>
            </a:r>
            <a:r>
              <a:rPr lang="en-US" sz="2000" baseline="30000" dirty="0">
                <a:solidFill>
                  <a:srgbClr val="2C2C2C"/>
                </a:solidFill>
                <a:latin typeface="Segoe UI Light"/>
              </a:rPr>
              <a:t>rd</a:t>
            </a:r>
            <a:r>
              <a:rPr lang="en-US" sz="2000" dirty="0">
                <a:solidFill>
                  <a:srgbClr val="2C2C2C"/>
                </a:solidFill>
                <a:latin typeface="Segoe UI Light"/>
              </a:rPr>
              <a:t> party tools continue to work</a:t>
            </a:r>
          </a:p>
          <a:p>
            <a:pPr marL="228556" indent="-228556" defTabSz="914225">
              <a:spcBef>
                <a:spcPts val="1800"/>
              </a:spcBef>
              <a:buClr>
                <a:srgbClr val="0078D7"/>
              </a:buClr>
            </a:pPr>
            <a:r>
              <a:rPr lang="en-US" sz="2000" dirty="0">
                <a:solidFill>
                  <a:srgbClr val="2C2C2C"/>
                </a:solidFill>
                <a:latin typeface="Segoe UI Light"/>
              </a:rPr>
              <a:t>All existing drivers and frameworks supported</a:t>
            </a:r>
          </a:p>
          <a:p>
            <a:pPr marL="228556" indent="-228556" defTabSz="914225">
              <a:spcBef>
                <a:spcPts val="1800"/>
              </a:spcBef>
              <a:buClr>
                <a:srgbClr val="0078D7"/>
              </a:buClr>
            </a:pPr>
            <a:r>
              <a:rPr lang="en-US" sz="2000" dirty="0">
                <a:solidFill>
                  <a:srgbClr val="FF0000"/>
                </a:solidFill>
                <a:latin typeface="Segoe UI Light"/>
              </a:rPr>
              <a:t>New</a:t>
            </a:r>
            <a:r>
              <a:rPr lang="en-US" sz="2000" dirty="0">
                <a:solidFill>
                  <a:srgbClr val="2C2C2C"/>
                </a:solidFill>
                <a:latin typeface="Segoe UI Light"/>
              </a:rPr>
              <a:t> Native command line tools: sqlcmd, bcp, sqlpackage</a:t>
            </a:r>
          </a:p>
          <a:p>
            <a:pPr marL="228556" indent="-228556" defTabSz="914225">
              <a:spcBef>
                <a:spcPts val="1800"/>
              </a:spcBef>
              <a:buClr>
                <a:srgbClr val="0078D7"/>
              </a:buClr>
            </a:pPr>
            <a:r>
              <a:rPr lang="en-US" sz="2000" dirty="0">
                <a:solidFill>
                  <a:srgbClr val="FF0000"/>
                </a:solidFill>
                <a:latin typeface="Segoe UI Light"/>
              </a:rPr>
              <a:t>New</a:t>
            </a:r>
            <a:r>
              <a:rPr lang="en-US" sz="2000" dirty="0">
                <a:solidFill>
                  <a:srgbClr val="2C2C2C"/>
                </a:solidFill>
                <a:latin typeface="Segoe UI Light"/>
              </a:rPr>
              <a:t> </a:t>
            </a:r>
            <a:r>
              <a:rPr lang="en-US" sz="2000" dirty="0" err="1">
                <a:solidFill>
                  <a:srgbClr val="2C2C2C"/>
                </a:solidFill>
                <a:latin typeface="Segoe UI Light"/>
              </a:rPr>
              <a:t>mssql</a:t>
            </a:r>
            <a:r>
              <a:rPr lang="en-US" sz="2000" dirty="0">
                <a:solidFill>
                  <a:srgbClr val="2C2C2C"/>
                </a:solidFill>
                <a:latin typeface="Segoe UI Light"/>
              </a:rPr>
              <a:t> extension for Visual Studio Code</a:t>
            </a:r>
          </a:p>
          <a:p>
            <a:pPr marL="228556" indent="-228556" defTabSz="914225">
              <a:spcBef>
                <a:spcPts val="1800"/>
              </a:spcBef>
              <a:buClr>
                <a:srgbClr val="0078D7"/>
              </a:buClr>
            </a:pPr>
            <a:r>
              <a:rPr lang="en-US" sz="2000" dirty="0">
                <a:solidFill>
                  <a:srgbClr val="FF0000"/>
                </a:solidFill>
                <a:latin typeface="Segoe UI Light"/>
              </a:rPr>
              <a:t>New</a:t>
            </a:r>
            <a:r>
              <a:rPr lang="en-US" sz="2000" dirty="0">
                <a:solidFill>
                  <a:srgbClr val="2C2C2C"/>
                </a:solidFill>
                <a:latin typeface="Segoe UI Light"/>
              </a:rPr>
              <a:t> cross-platform DB admin GUI tool (planned)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051" y="1661944"/>
            <a:ext cx="6717792" cy="4960648"/>
          </a:xfrm>
          <a:prstGeom prst="rect">
            <a:avLst/>
          </a:prstGeom>
        </p:spPr>
      </p:pic>
      <p:sp>
        <p:nvSpPr>
          <p:cNvPr id="12" name="Text Placeholder 4"/>
          <p:cNvSpPr txBox="1">
            <a:spLocks/>
          </p:cNvSpPr>
          <p:nvPr/>
        </p:nvSpPr>
        <p:spPr>
          <a:xfrm>
            <a:off x="866" y="110871"/>
            <a:ext cx="6857027" cy="355107"/>
          </a:xfrm>
          <a:prstGeom prst="rect">
            <a:avLst/>
          </a:prstGeom>
          <a:solidFill>
            <a:srgbClr val="002050"/>
          </a:solidFill>
          <a:ln w="10795" cap="flat" cmpd="sng" algn="ctr">
            <a:noFill/>
            <a:prstDash val="solid"/>
          </a:ln>
          <a:effectLst/>
        </p:spPr>
        <p:txBody>
          <a:bodyPr vert="horz" lIns="448212" tIns="44821" rIns="0" bIns="44821" rtlCol="0" anchor="ctr">
            <a:normAutofit/>
          </a:bodyPr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kumimoji="0" lang="en-US" sz="1428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44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4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70C7FF"/>
              </a:buClr>
              <a:buNone/>
              <a:defRPr/>
            </a:pPr>
            <a:r>
              <a:rPr sz="1400"/>
              <a:t>FLEXIBILITY</a:t>
            </a:r>
          </a:p>
        </p:txBody>
      </p:sp>
    </p:spTree>
    <p:extLst>
      <p:ext uri="{BB962C8B-B14F-4D97-AF65-F5344CB8AC3E}">
        <p14:creationId xmlns:p14="http://schemas.microsoft.com/office/powerpoint/2010/main" val="19563142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193431" y="1061545"/>
            <a:ext cx="11382483" cy="5376325"/>
          </a:xfrm>
        </p:spPr>
        <p:txBody>
          <a:bodyPr/>
          <a:lstStyle/>
          <a:p>
            <a:pPr marL="0" indent="0">
              <a:buNone/>
            </a:pPr>
            <a:r>
              <a:rPr lang="en-US" sz="3600" dirty="0" smtClean="0"/>
              <a:t>What</a:t>
            </a:r>
          </a:p>
          <a:p>
            <a:pPr marL="0" indent="0">
              <a:buNone/>
            </a:pPr>
            <a:r>
              <a:rPr lang="en-US" sz="2800" dirty="0" smtClean="0"/>
              <a:t>Seamlessly enables database DevOps &amp; CI/CD automation</a:t>
            </a:r>
          </a:p>
          <a:p>
            <a:pPr marL="0" indent="0">
              <a:buNone/>
            </a:pPr>
            <a:r>
              <a:rPr lang="en-US" sz="2800" dirty="0" smtClean="0"/>
              <a:t>Include </a:t>
            </a:r>
            <a:r>
              <a:rPr lang="en-US" sz="2800" dirty="0"/>
              <a:t>SQL Server 2017 containers as a component of </a:t>
            </a:r>
            <a:r>
              <a:rPr lang="en-US" sz="2800" dirty="0" smtClean="0"/>
              <a:t>your app </a:t>
            </a:r>
            <a:r>
              <a:rPr lang="en-US" sz="2800" dirty="0"/>
              <a:t>for an integrated build, test, and deploy experience</a:t>
            </a:r>
            <a:r>
              <a:rPr lang="en-US" sz="2800" dirty="0" smtClean="0"/>
              <a:t>.</a:t>
            </a:r>
          </a:p>
          <a:p>
            <a:pPr marL="0" indent="0">
              <a:buNone/>
            </a:pPr>
            <a:endParaRPr lang="en-US" sz="2800" dirty="0" smtClean="0"/>
          </a:p>
          <a:p>
            <a:pPr marL="0" indent="0">
              <a:buNone/>
            </a:pPr>
            <a:r>
              <a:rPr lang="en-US" sz="3600" dirty="0" smtClean="0"/>
              <a:t>Benefits</a:t>
            </a:r>
          </a:p>
          <a:p>
            <a:pPr marL="0" indent="0">
              <a:buNone/>
            </a:pPr>
            <a:r>
              <a:rPr lang="en-US" sz="2800" dirty="0"/>
              <a:t>Deliver continuous value to your customers in an agile manner</a:t>
            </a:r>
          </a:p>
          <a:p>
            <a:pPr marL="0" indent="0">
              <a:buNone/>
            </a:pPr>
            <a:r>
              <a:rPr lang="en-US" sz="2800" dirty="0" smtClean="0"/>
              <a:t>Greatly reduce </a:t>
            </a:r>
            <a:r>
              <a:rPr lang="en-US" sz="2800" dirty="0"/>
              <a:t>variability and </a:t>
            </a:r>
            <a:r>
              <a:rPr lang="en-US" sz="2800" dirty="0" smtClean="0"/>
              <a:t>increase agility</a:t>
            </a:r>
          </a:p>
          <a:p>
            <a:pPr marL="0" indent="0">
              <a:buNone/>
            </a:pPr>
            <a:r>
              <a:rPr lang="en-US" sz="2800" dirty="0" smtClean="0"/>
              <a:t>Enforce </a:t>
            </a:r>
            <a:r>
              <a:rPr lang="en-US" sz="2800" dirty="0"/>
              <a:t>a consistent dev/test environment for your </a:t>
            </a:r>
            <a:r>
              <a:rPr lang="en-US" sz="2800" dirty="0" smtClean="0"/>
              <a:t>team</a:t>
            </a:r>
          </a:p>
          <a:p>
            <a:pPr marL="0" indent="0">
              <a:buNone/>
            </a:pPr>
            <a:r>
              <a:rPr lang="en-US" sz="2800" dirty="0" smtClean="0"/>
              <a:t>Dramatically simplify development</a:t>
            </a:r>
            <a:r>
              <a:rPr lang="en-US" sz="2800" dirty="0"/>
              <a:t>, testing, and deployment of </a:t>
            </a:r>
            <a:r>
              <a:rPr lang="en-US" sz="2800" dirty="0" smtClean="0"/>
              <a:t>applications</a:t>
            </a:r>
          </a:p>
          <a:p>
            <a:pPr marL="0" indent="0">
              <a:buNone/>
            </a:pPr>
            <a:r>
              <a:rPr lang="en-US" sz="2800" dirty="0" smtClean="0"/>
              <a:t>Easily integrate with your existing CI/CD pipelines</a:t>
            </a:r>
            <a:endParaRPr lang="en-US" sz="2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1"/>
            <a:ext cx="12191999" cy="914400"/>
          </a:xfrm>
        </p:spPr>
        <p:txBody>
          <a:bodyPr>
            <a:normAutofit fontScale="90000"/>
          </a:bodyPr>
          <a:lstStyle/>
          <a:p>
            <a:r>
              <a:rPr lang="en-US" sz="5400" dirty="0" smtClean="0"/>
              <a:t>SQL Server in Docker</a:t>
            </a:r>
            <a:endParaRPr lang="en-US" sz="5400" dirty="0"/>
          </a:p>
        </p:txBody>
      </p:sp>
    </p:spTree>
    <p:extLst>
      <p:ext uri="{BB962C8B-B14F-4D97-AF65-F5344CB8AC3E}">
        <p14:creationId xmlns:p14="http://schemas.microsoft.com/office/powerpoint/2010/main" val="12377577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-50057_TechSummit_FY17_Light">
  <a:themeElements>
    <a:clrScheme name="Microsoft Tech Summit v03">
      <a:dk1>
        <a:srgbClr val="161616"/>
      </a:dk1>
      <a:lt1>
        <a:srgbClr val="FFFFFF"/>
      </a:lt1>
      <a:dk2>
        <a:srgbClr val="00188F"/>
      </a:dk2>
      <a:lt2>
        <a:srgbClr val="F8F8F8"/>
      </a:lt2>
      <a:accent1>
        <a:srgbClr val="0078D7"/>
      </a:accent1>
      <a:accent2>
        <a:srgbClr val="00BCF2"/>
      </a:accent2>
      <a:accent3>
        <a:srgbClr val="D73B01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chSummit_FY17_16x9_Template.potx" id="{0F38E6BD-6271-4EAD-8421-BBD1CAF81882}" vid="{5FDA26A8-DCBA-42BE-8369-1ED889D074FE}"/>
    </a:ext>
  </a:extLst>
</a:theme>
</file>

<file path=ppt/theme/theme3.xml><?xml version="1.0" encoding="utf-8"?>
<a:theme xmlns:a="http://schemas.openxmlformats.org/drawingml/2006/main" name="1_Connect(); 2016 (Remove)">
  <a:themeElements>
    <a:clrScheme name="TT_White_Dec2013">
      <a:dk1>
        <a:srgbClr val="505050"/>
      </a:dk1>
      <a:lt1>
        <a:srgbClr val="FFFFFF"/>
      </a:lt1>
      <a:dk2>
        <a:srgbClr val="008272"/>
      </a:dk2>
      <a:lt2>
        <a:srgbClr val="D2D2D2"/>
      </a:lt2>
      <a:accent1>
        <a:srgbClr val="008272"/>
      </a:accent1>
      <a:accent2>
        <a:srgbClr val="68217A"/>
      </a:accent2>
      <a:accent3>
        <a:srgbClr val="B4009E"/>
      </a:accent3>
      <a:accent4>
        <a:srgbClr val="0072C6"/>
      </a:accent4>
      <a:accent5>
        <a:srgbClr val="442359"/>
      </a:accent5>
      <a:accent6>
        <a:srgbClr val="002050"/>
      </a:accent6>
      <a:hlink>
        <a:srgbClr val="008272"/>
      </a:hlink>
      <a:folHlink>
        <a:srgbClr val="00827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nnect2016_OnlineTemplate_100616.pptx" id="{FA7DE848-96F2-4BA7-AC90-0376C6B2D535}" vid="{3886B49E-0C5B-490D-9721-CD679B0B4031}"/>
    </a:ext>
  </a:extLst>
</a:theme>
</file>

<file path=ppt/theme/theme4.xml><?xml version="1.0" encoding="utf-8"?>
<a:theme xmlns:a="http://schemas.openxmlformats.org/drawingml/2006/main" name="Modern DW">
  <a:themeElements>
    <a:clrScheme name="Custom 21">
      <a:dk1>
        <a:srgbClr val="505050"/>
      </a:dk1>
      <a:lt1>
        <a:srgbClr val="FFFFFF"/>
      </a:lt1>
      <a:dk2>
        <a:srgbClr val="002050"/>
      </a:dk2>
      <a:lt2>
        <a:srgbClr val="70C7FF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70C7FF"/>
      </a:hlink>
      <a:folHlink>
        <a:srgbClr val="0078D7"/>
      </a:folHlink>
    </a:clrScheme>
    <a:fontScheme name="Segoe 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5-50057_TechSummit_FY17_Light">
  <a:themeElements>
    <a:clrScheme name="Microsoft Tech Summit v03">
      <a:dk1>
        <a:srgbClr val="161616"/>
      </a:dk1>
      <a:lt1>
        <a:srgbClr val="FFFFFF"/>
      </a:lt1>
      <a:dk2>
        <a:srgbClr val="00188F"/>
      </a:dk2>
      <a:lt2>
        <a:srgbClr val="F8F8F8"/>
      </a:lt2>
      <a:accent1>
        <a:srgbClr val="0078D7"/>
      </a:accent1>
      <a:accent2>
        <a:srgbClr val="00BCF2"/>
      </a:accent2>
      <a:accent3>
        <a:srgbClr val="D73B01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chSummit_FY17_16x9_Template.potx" id="{0F38E6BD-6271-4EAD-8421-BBD1CAF81882}" vid="{5FDA26A8-DCBA-42BE-8369-1ED889D074FE}"/>
    </a:ext>
  </a:extLst>
</a:theme>
</file>

<file path=ppt/theme/theme6.xml><?xml version="1.0" encoding="utf-8"?>
<a:theme xmlns:a="http://schemas.openxmlformats.org/drawingml/2006/main" name="2_5-50057_TechSummit_FY17_Light">
  <a:themeElements>
    <a:clrScheme name="Microsoft Tech Summit v03">
      <a:dk1>
        <a:srgbClr val="161616"/>
      </a:dk1>
      <a:lt1>
        <a:srgbClr val="FFFFFF"/>
      </a:lt1>
      <a:dk2>
        <a:srgbClr val="00188F"/>
      </a:dk2>
      <a:lt2>
        <a:srgbClr val="F8F8F8"/>
      </a:lt2>
      <a:accent1>
        <a:srgbClr val="0078D7"/>
      </a:accent1>
      <a:accent2>
        <a:srgbClr val="00BCF2"/>
      </a:accent2>
      <a:accent3>
        <a:srgbClr val="D73B01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chSummit_FY17_16x9_Template.potx" id="{0F38E6BD-6271-4EAD-8421-BBD1CAF81882}" vid="{5FDA26A8-DCBA-42BE-8369-1ED889D074FE}"/>
    </a:ext>
  </a:extLst>
</a:theme>
</file>

<file path=ppt/theme/theme7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5-50057_TechSummit_FY17_Light">
  <a:themeElements>
    <a:clrScheme name="Microsoft Tech Summit v03">
      <a:dk1>
        <a:srgbClr val="161616"/>
      </a:dk1>
      <a:lt1>
        <a:srgbClr val="FFFFFF"/>
      </a:lt1>
      <a:dk2>
        <a:srgbClr val="00188F"/>
      </a:dk2>
      <a:lt2>
        <a:srgbClr val="F8F8F8"/>
      </a:lt2>
      <a:accent1>
        <a:srgbClr val="0078D7"/>
      </a:accent1>
      <a:accent2>
        <a:srgbClr val="00BCF2"/>
      </a:accent2>
      <a:accent3>
        <a:srgbClr val="D73B01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chSummit_FY17_16x9_Template.potx" id="{0F38E6BD-6271-4EAD-8421-BBD1CAF81882}" vid="{5FDA26A8-DCBA-42BE-8369-1ED889D074FE}"/>
    </a:ext>
  </a:extLst>
</a:theme>
</file>

<file path=ppt/theme/theme9.xml><?xml version="1.0" encoding="utf-8"?>
<a:theme xmlns:a="http://schemas.openxmlformats.org/drawingml/2006/main" name="4_5-50057_TechSummit_FY17_Light">
  <a:themeElements>
    <a:clrScheme name="Microsoft Tech Summit v03">
      <a:dk1>
        <a:srgbClr val="161616"/>
      </a:dk1>
      <a:lt1>
        <a:srgbClr val="FFFFFF"/>
      </a:lt1>
      <a:dk2>
        <a:srgbClr val="00188F"/>
      </a:dk2>
      <a:lt2>
        <a:srgbClr val="F8F8F8"/>
      </a:lt2>
      <a:accent1>
        <a:srgbClr val="0078D7"/>
      </a:accent1>
      <a:accent2>
        <a:srgbClr val="00BCF2"/>
      </a:accent2>
      <a:accent3>
        <a:srgbClr val="D73B01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chSummit_FY17_16x9_Template.potx" id="{0F38E6BD-6271-4EAD-8421-BBD1CAF81882}" vid="{5FDA26A8-DCBA-42BE-8369-1ED889D074F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0</TotalTime>
  <Words>1176</Words>
  <Application>Microsoft Macintosh PowerPoint</Application>
  <PresentationFormat>Widescreen</PresentationFormat>
  <Paragraphs>165</Paragraphs>
  <Slides>1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35" baseType="lpstr">
      <vt:lpstr>Calibri</vt:lpstr>
      <vt:lpstr>Calibri Light</vt:lpstr>
      <vt:lpstr>Consolas</vt:lpstr>
      <vt:lpstr>Mangal</vt:lpstr>
      <vt:lpstr>MS PGothic</vt:lpstr>
      <vt:lpstr>Segoe UI</vt:lpstr>
      <vt:lpstr>Segoe UI Black</vt:lpstr>
      <vt:lpstr>Segoe UI Light</vt:lpstr>
      <vt:lpstr>Segoe UI Semibold</vt:lpstr>
      <vt:lpstr>Segoe UI Semilight</vt:lpstr>
      <vt:lpstr>Wingdings</vt:lpstr>
      <vt:lpstr>Wingdings 3</vt:lpstr>
      <vt:lpstr>Arial</vt:lpstr>
      <vt:lpstr>Office Theme</vt:lpstr>
      <vt:lpstr>5-50057_TechSummit_FY17_Light</vt:lpstr>
      <vt:lpstr>1_Connect(); 2016 (Remove)</vt:lpstr>
      <vt:lpstr>Modern DW</vt:lpstr>
      <vt:lpstr>1_5-50057_TechSummit_FY17_Light</vt:lpstr>
      <vt:lpstr>2_5-50057_TechSummit_FY17_Light</vt:lpstr>
      <vt:lpstr>5_Office Theme</vt:lpstr>
      <vt:lpstr>3_5-50057_TechSummit_FY17_Light</vt:lpstr>
      <vt:lpstr>4_5-50057_TechSummit_FY17_Light</vt:lpstr>
      <vt:lpstr>think-cell Slide</vt:lpstr>
      <vt:lpstr>PowerPoint Presentation</vt:lpstr>
      <vt:lpstr>Platform of your choice: Freedom to choose Windows, Linux or Docker Containers for SQL Server</vt:lpstr>
      <vt:lpstr>Businesses  are embracing choice</vt:lpstr>
      <vt:lpstr>Microsoft  is delivering  on choice</vt:lpstr>
      <vt:lpstr>PowerPoint Presentation</vt:lpstr>
      <vt:lpstr>Power of SQL Server on the platform of your choice</vt:lpstr>
      <vt:lpstr>Demo</vt:lpstr>
      <vt:lpstr>PowerPoint Presentation</vt:lpstr>
      <vt:lpstr>SQL Server in Docker</vt:lpstr>
      <vt:lpstr>Demo</vt:lpstr>
      <vt:lpstr>Resources</vt:lpstr>
      <vt:lpstr>PowerPoint Presentation</vt:lpstr>
    </vt:vector>
  </TitlesOfParts>
  <LinksUpToDate>false</LinksUpToDate>
  <SharedDoc>false</SharedDoc>
  <HyperlinksChanged>false</HyperlinksChanged>
  <AppVersion>15.0039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mraj, Neha</dc:creator>
  <cp:lastModifiedBy>Sanjay Nagamangalam</cp:lastModifiedBy>
  <cp:revision>37</cp:revision>
  <dcterms:created xsi:type="dcterms:W3CDTF">2017-08-18T12:54:46Z</dcterms:created>
  <dcterms:modified xsi:type="dcterms:W3CDTF">2017-09-11T15:01:20Z</dcterms:modified>
</cp:coreProperties>
</file>